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</p:sldMasterIdLst>
  <p:notesMasterIdLst>
    <p:notesMasterId r:id="rId6"/>
  </p:notesMasterIdLst>
  <p:sldIdLst>
    <p:sldId id="2069" r:id="rId5"/>
  </p:sldIdLst>
  <p:sldSz cx="9144000" cy="5143500" type="screen16x9"/>
  <p:notesSz cx="6858000" cy="9144000"/>
  <p:defaultTextStyle>
    <a:defPPr>
      <a:defRPr lang="en-US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iBitetto, Tony" initials="DT" lastIdx="1" clrIdx="0">
    <p:extLst>
      <p:ext uri="{19B8F6BF-5375-455C-9EA6-DF929625EA0E}">
        <p15:presenceInfo xmlns:p15="http://schemas.microsoft.com/office/powerpoint/2012/main" userId="S-1-5-21-2076597496-1563261944-1256410061-176178" providerId="AD"/>
      </p:ext>
    </p:extLst>
  </p:cmAuthor>
  <p:cmAuthor id="2" name="Pandya, Devang" initials="PD" lastIdx="6" clrIdx="1">
    <p:extLst>
      <p:ext uri="{19B8F6BF-5375-455C-9EA6-DF929625EA0E}">
        <p15:presenceInfo xmlns:p15="http://schemas.microsoft.com/office/powerpoint/2012/main" userId="S-1-5-21-2076597496-1563261944-1256410061-21672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BD2"/>
    <a:srgbClr val="FF9900"/>
    <a:srgbClr val="00B6F6"/>
    <a:srgbClr val="FFFF66"/>
    <a:srgbClr val="44B288"/>
    <a:srgbClr val="437185"/>
    <a:srgbClr val="90A452"/>
    <a:srgbClr val="7EB436"/>
    <a:srgbClr val="00A7E2"/>
    <a:srgbClr val="28282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341" autoAdjust="0"/>
    <p:restoredTop sz="94723" autoAdjust="0"/>
  </p:normalViewPr>
  <p:slideViewPr>
    <p:cSldViewPr snapToGrid="0">
      <p:cViewPr>
        <p:scale>
          <a:sx n="100" d="100"/>
          <a:sy n="100" d="100"/>
        </p:scale>
        <p:origin x="768" y="72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C78EF0-0DF0-8442-8A08-5681612D9C6F}" type="datetimeFigureOut">
              <a:rPr lang="en-US" smtClean="0"/>
              <a:t>5/20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455D1DE-A7B1-4046-BEEF-D8F8EFF4F40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65728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A3CDA5E-6F6A-45F5-A445-0EBB72A5F3B0}" type="slidenum">
              <a:rPr lang="en-CA" smtClean="0"/>
              <a:pPr/>
              <a:t>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0363886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47847" y="1847472"/>
            <a:ext cx="4626978" cy="1117229"/>
          </a:xfrm>
        </p:spPr>
        <p:txBody>
          <a:bodyPr wrap="square" anchor="b">
            <a:spAutoFit/>
          </a:bodyPr>
          <a:lstStyle>
            <a:lvl1pPr algn="l">
              <a:defRPr sz="3700" b="1" cap="all" baseline="0"/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47847" y="2898648"/>
            <a:ext cx="4626978" cy="313932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847847" y="4048191"/>
            <a:ext cx="4626978" cy="258532"/>
          </a:xfrm>
        </p:spPr>
        <p:txBody>
          <a:bodyPr>
            <a:spAutoFit/>
          </a:bodyPr>
          <a:lstStyle>
            <a:lvl1pPr marL="0" indent="0">
              <a:buNone/>
              <a:defRPr sz="12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Presented by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847847" y="4253378"/>
            <a:ext cx="4626978" cy="258532"/>
          </a:xfrm>
        </p:spPr>
        <p:txBody>
          <a:bodyPr>
            <a:spAutoFit/>
          </a:bodyPr>
          <a:lstStyle>
            <a:lvl1pPr marL="0" indent="0">
              <a:buNone/>
              <a:defRPr sz="1200"/>
            </a:lvl1pPr>
          </a:lstStyle>
          <a:p>
            <a:pPr lvl="0"/>
            <a:r>
              <a:rPr lang="en-US"/>
              <a:t>Date goes here</a:t>
            </a:r>
          </a:p>
        </p:txBody>
      </p:sp>
      <p:sp>
        <p:nvSpPr>
          <p:cNvPr id="27" name="Picture Placeholder 26"/>
          <p:cNvSpPr>
            <a:spLocks noGrp="1"/>
          </p:cNvSpPr>
          <p:nvPr>
            <p:ph type="pic" sz="quarter" idx="13"/>
          </p:nvPr>
        </p:nvSpPr>
        <p:spPr>
          <a:xfrm>
            <a:off x="4481735" y="0"/>
            <a:ext cx="4662264" cy="4312511"/>
          </a:xfrm>
          <a:custGeom>
            <a:avLst/>
            <a:gdLst>
              <a:gd name="connsiteX0" fmla="*/ 0 w 4662264"/>
              <a:gd name="connsiteY0" fmla="*/ 0 h 4312511"/>
              <a:gd name="connsiteX1" fmla="*/ 4662264 w 4662264"/>
              <a:gd name="connsiteY1" fmla="*/ 0 h 4312511"/>
              <a:gd name="connsiteX2" fmla="*/ 4662264 w 4662264"/>
              <a:gd name="connsiteY2" fmla="*/ 4306723 h 4312511"/>
              <a:gd name="connsiteX3" fmla="*/ 3135089 w 4662264"/>
              <a:gd name="connsiteY3" fmla="*/ 4310778 h 4312511"/>
              <a:gd name="connsiteX4" fmla="*/ 3135089 w 4662264"/>
              <a:gd name="connsiteY4" fmla="*/ 4309409 h 4312511"/>
              <a:gd name="connsiteX5" fmla="*/ 3073650 w 4662264"/>
              <a:gd name="connsiteY5" fmla="*/ 4312511 h 4312511"/>
              <a:gd name="connsiteX6" fmla="*/ 2122134 w 4662264"/>
              <a:gd name="connsiteY6" fmla="*/ 3681803 h 4312511"/>
              <a:gd name="connsiteX7" fmla="*/ 2117343 w 4662264"/>
              <a:gd name="connsiteY7" fmla="*/ 3668713 h 4312511"/>
              <a:gd name="connsiteX8" fmla="*/ 2112128 w 4662264"/>
              <a:gd name="connsiteY8" fmla="*/ 3668713 h 4312511"/>
              <a:gd name="connsiteX0" fmla="*/ 0 w 4662264"/>
              <a:gd name="connsiteY0" fmla="*/ 0 h 4312511"/>
              <a:gd name="connsiteX1" fmla="*/ 4662264 w 4662264"/>
              <a:gd name="connsiteY1" fmla="*/ 0 h 4312511"/>
              <a:gd name="connsiteX2" fmla="*/ 4662264 w 4662264"/>
              <a:gd name="connsiteY2" fmla="*/ 4306723 h 4312511"/>
              <a:gd name="connsiteX3" fmla="*/ 3135089 w 4662264"/>
              <a:gd name="connsiteY3" fmla="*/ 4310778 h 4312511"/>
              <a:gd name="connsiteX4" fmla="*/ 3073650 w 4662264"/>
              <a:gd name="connsiteY4" fmla="*/ 4312511 h 4312511"/>
              <a:gd name="connsiteX5" fmla="*/ 2122134 w 4662264"/>
              <a:gd name="connsiteY5" fmla="*/ 3681803 h 4312511"/>
              <a:gd name="connsiteX6" fmla="*/ 2117343 w 4662264"/>
              <a:gd name="connsiteY6" fmla="*/ 3668713 h 4312511"/>
              <a:gd name="connsiteX7" fmla="*/ 2112128 w 4662264"/>
              <a:gd name="connsiteY7" fmla="*/ 3668713 h 4312511"/>
              <a:gd name="connsiteX8" fmla="*/ 0 w 4662264"/>
              <a:gd name="connsiteY8" fmla="*/ 0 h 4312511"/>
              <a:gd name="connsiteX0" fmla="*/ 0 w 4662264"/>
              <a:gd name="connsiteY0" fmla="*/ 0 h 4312511"/>
              <a:gd name="connsiteX1" fmla="*/ 4662264 w 4662264"/>
              <a:gd name="connsiteY1" fmla="*/ 0 h 4312511"/>
              <a:gd name="connsiteX2" fmla="*/ 4662264 w 4662264"/>
              <a:gd name="connsiteY2" fmla="*/ 4306723 h 4312511"/>
              <a:gd name="connsiteX3" fmla="*/ 3073650 w 4662264"/>
              <a:gd name="connsiteY3" fmla="*/ 4312511 h 4312511"/>
              <a:gd name="connsiteX4" fmla="*/ 2122134 w 4662264"/>
              <a:gd name="connsiteY4" fmla="*/ 3681803 h 4312511"/>
              <a:gd name="connsiteX5" fmla="*/ 2117343 w 4662264"/>
              <a:gd name="connsiteY5" fmla="*/ 3668713 h 4312511"/>
              <a:gd name="connsiteX6" fmla="*/ 2112128 w 4662264"/>
              <a:gd name="connsiteY6" fmla="*/ 3668713 h 4312511"/>
              <a:gd name="connsiteX7" fmla="*/ 0 w 4662264"/>
              <a:gd name="connsiteY7" fmla="*/ 0 h 4312511"/>
              <a:gd name="connsiteX0" fmla="*/ 0 w 4662264"/>
              <a:gd name="connsiteY0" fmla="*/ 0 h 4312511"/>
              <a:gd name="connsiteX1" fmla="*/ 4662264 w 4662264"/>
              <a:gd name="connsiteY1" fmla="*/ 0 h 4312511"/>
              <a:gd name="connsiteX2" fmla="*/ 4662264 w 4662264"/>
              <a:gd name="connsiteY2" fmla="*/ 4306723 h 4312511"/>
              <a:gd name="connsiteX3" fmla="*/ 3073650 w 4662264"/>
              <a:gd name="connsiteY3" fmla="*/ 4312511 h 4312511"/>
              <a:gd name="connsiteX4" fmla="*/ 2122134 w 4662264"/>
              <a:gd name="connsiteY4" fmla="*/ 3681803 h 4312511"/>
              <a:gd name="connsiteX5" fmla="*/ 2112128 w 4662264"/>
              <a:gd name="connsiteY5" fmla="*/ 3668713 h 4312511"/>
              <a:gd name="connsiteX6" fmla="*/ 0 w 4662264"/>
              <a:gd name="connsiteY6" fmla="*/ 0 h 4312511"/>
              <a:gd name="connsiteX0" fmla="*/ 0 w 4662264"/>
              <a:gd name="connsiteY0" fmla="*/ 0 h 4312511"/>
              <a:gd name="connsiteX1" fmla="*/ 4662264 w 4662264"/>
              <a:gd name="connsiteY1" fmla="*/ 0 h 4312511"/>
              <a:gd name="connsiteX2" fmla="*/ 4662264 w 4662264"/>
              <a:gd name="connsiteY2" fmla="*/ 4306723 h 4312511"/>
              <a:gd name="connsiteX3" fmla="*/ 3073650 w 4662264"/>
              <a:gd name="connsiteY3" fmla="*/ 4312511 h 4312511"/>
              <a:gd name="connsiteX4" fmla="*/ 2122134 w 4662264"/>
              <a:gd name="connsiteY4" fmla="*/ 3681803 h 4312511"/>
              <a:gd name="connsiteX5" fmla="*/ 0 w 4662264"/>
              <a:gd name="connsiteY5" fmla="*/ 0 h 4312511"/>
              <a:gd name="connsiteX0" fmla="*/ 0 w 4662264"/>
              <a:gd name="connsiteY0" fmla="*/ 0 h 4312511"/>
              <a:gd name="connsiteX1" fmla="*/ 4662264 w 4662264"/>
              <a:gd name="connsiteY1" fmla="*/ 0 h 4312511"/>
              <a:gd name="connsiteX2" fmla="*/ 4662264 w 4662264"/>
              <a:gd name="connsiteY2" fmla="*/ 4306723 h 4312511"/>
              <a:gd name="connsiteX3" fmla="*/ 3073650 w 4662264"/>
              <a:gd name="connsiteY3" fmla="*/ 4312511 h 4312511"/>
              <a:gd name="connsiteX4" fmla="*/ 2122134 w 4662264"/>
              <a:gd name="connsiteY4" fmla="*/ 3681803 h 4312511"/>
              <a:gd name="connsiteX5" fmla="*/ 0 w 4662264"/>
              <a:gd name="connsiteY5" fmla="*/ 0 h 4312511"/>
              <a:gd name="connsiteX0" fmla="*/ 0 w 4662264"/>
              <a:gd name="connsiteY0" fmla="*/ 0 h 4312511"/>
              <a:gd name="connsiteX1" fmla="*/ 4662264 w 4662264"/>
              <a:gd name="connsiteY1" fmla="*/ 0 h 4312511"/>
              <a:gd name="connsiteX2" fmla="*/ 4662264 w 4662264"/>
              <a:gd name="connsiteY2" fmla="*/ 4306723 h 4312511"/>
              <a:gd name="connsiteX3" fmla="*/ 3073650 w 4662264"/>
              <a:gd name="connsiteY3" fmla="*/ 4312511 h 4312511"/>
              <a:gd name="connsiteX4" fmla="*/ 2122134 w 4662264"/>
              <a:gd name="connsiteY4" fmla="*/ 3681803 h 4312511"/>
              <a:gd name="connsiteX5" fmla="*/ 0 w 4662264"/>
              <a:gd name="connsiteY5" fmla="*/ 0 h 4312511"/>
              <a:gd name="connsiteX0" fmla="*/ 0 w 4662264"/>
              <a:gd name="connsiteY0" fmla="*/ 0 h 4312511"/>
              <a:gd name="connsiteX1" fmla="*/ 4662264 w 4662264"/>
              <a:gd name="connsiteY1" fmla="*/ 0 h 4312511"/>
              <a:gd name="connsiteX2" fmla="*/ 4662264 w 4662264"/>
              <a:gd name="connsiteY2" fmla="*/ 4306723 h 4312511"/>
              <a:gd name="connsiteX3" fmla="*/ 3073650 w 4662264"/>
              <a:gd name="connsiteY3" fmla="*/ 4312511 h 4312511"/>
              <a:gd name="connsiteX4" fmla="*/ 2122134 w 4662264"/>
              <a:gd name="connsiteY4" fmla="*/ 3681803 h 4312511"/>
              <a:gd name="connsiteX5" fmla="*/ 0 w 4662264"/>
              <a:gd name="connsiteY5" fmla="*/ 0 h 4312511"/>
              <a:gd name="connsiteX0" fmla="*/ 0 w 4662264"/>
              <a:gd name="connsiteY0" fmla="*/ 0 h 4312511"/>
              <a:gd name="connsiteX1" fmla="*/ 4662264 w 4662264"/>
              <a:gd name="connsiteY1" fmla="*/ 0 h 4312511"/>
              <a:gd name="connsiteX2" fmla="*/ 4662264 w 4662264"/>
              <a:gd name="connsiteY2" fmla="*/ 4306723 h 4312511"/>
              <a:gd name="connsiteX3" fmla="*/ 3073650 w 4662264"/>
              <a:gd name="connsiteY3" fmla="*/ 4312511 h 4312511"/>
              <a:gd name="connsiteX4" fmla="*/ 2122134 w 4662264"/>
              <a:gd name="connsiteY4" fmla="*/ 3681803 h 4312511"/>
              <a:gd name="connsiteX5" fmla="*/ 0 w 4662264"/>
              <a:gd name="connsiteY5" fmla="*/ 0 h 43125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662264" h="4312511">
                <a:moveTo>
                  <a:pt x="0" y="0"/>
                </a:moveTo>
                <a:lnTo>
                  <a:pt x="4662264" y="0"/>
                </a:lnTo>
                <a:lnTo>
                  <a:pt x="4662264" y="4306723"/>
                </a:lnTo>
                <a:lnTo>
                  <a:pt x="3073650" y="4312511"/>
                </a:lnTo>
                <a:cubicBezTo>
                  <a:pt x="2645905" y="4312511"/>
                  <a:pt x="2329701" y="4112769"/>
                  <a:pt x="2122134" y="3681803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 algn="r">
              <a:buNone/>
              <a:defRPr sz="1200" cap="all" baseline="0"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C04683E-95F0-A94A-8D0C-6B1DD7C18E1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7847" y="982375"/>
            <a:ext cx="3087780" cy="5013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517302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35B171-50E3-2D49-9067-C9D2D5BD95F7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15069" y="1267809"/>
            <a:ext cx="8224106" cy="369332"/>
          </a:xfrm>
        </p:spPr>
        <p:txBody>
          <a:bodyPr wrap="square">
            <a:spAutoFit/>
          </a:bodyPr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  <a:lvl2pPr marL="173037" indent="0">
              <a:buNone/>
              <a:defRPr/>
            </a:lvl2pPr>
            <a:lvl3pPr marL="346075" indent="0">
              <a:buNone/>
              <a:defRPr/>
            </a:lvl3pPr>
            <a:lvl4pPr marL="519113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15072" y="1881809"/>
            <a:ext cx="4012204" cy="270289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78620F55-EF76-AB42-A257-D129C4F0005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884459"/>
            <a:ext cx="4010024" cy="27002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1" name="Picture 2" descr="Reynolds American">
            <a:extLst>
              <a:ext uri="{FF2B5EF4-FFF2-40B4-BE49-F238E27FC236}">
                <a16:creationId xmlns:a16="http://schemas.microsoft.com/office/drawing/2014/main" id="{27FCE91E-0CF2-4690-9E73-4967E7B6CB7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9963" y="138025"/>
            <a:ext cx="1026968" cy="5134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487420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Two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5070" y="809947"/>
            <a:ext cx="4010024" cy="757130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5069" y="1657761"/>
            <a:ext cx="4010024" cy="29269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657761"/>
            <a:ext cx="4010024" cy="29269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35B171-50E3-2D49-9067-C9D2D5BD95F7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629151" y="810749"/>
            <a:ext cx="4010024" cy="757130"/>
          </a:xfrm>
        </p:spPr>
        <p:txBody>
          <a:bodyPr wrap="square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0" name="Picture 2" descr="Reynolds American">
            <a:extLst>
              <a:ext uri="{FF2B5EF4-FFF2-40B4-BE49-F238E27FC236}">
                <a16:creationId xmlns:a16="http://schemas.microsoft.com/office/drawing/2014/main" id="{242BC25E-68B8-46D1-9D0F-CD7CE696253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9963" y="138025"/>
            <a:ext cx="1026968" cy="5134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090524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le,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5070" y="809947"/>
            <a:ext cx="4010024" cy="757130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5069" y="2236662"/>
            <a:ext cx="4010024" cy="23480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2236662"/>
            <a:ext cx="4010024" cy="23480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35B171-50E3-2D49-9067-C9D2D5BD95F7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629151" y="810749"/>
            <a:ext cx="4010024" cy="757130"/>
          </a:xfrm>
        </p:spPr>
        <p:txBody>
          <a:bodyPr wrap="square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415069" y="1627852"/>
            <a:ext cx="4010024" cy="341632"/>
          </a:xfrm>
        </p:spPr>
        <p:txBody>
          <a:bodyPr wrap="square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4629151" y="1627852"/>
            <a:ext cx="4010024" cy="341632"/>
          </a:xfrm>
        </p:spPr>
        <p:txBody>
          <a:bodyPr wrap="square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2" name="Picture 2" descr="Reynolds American">
            <a:extLst>
              <a:ext uri="{FF2B5EF4-FFF2-40B4-BE49-F238E27FC236}">
                <a16:creationId xmlns:a16="http://schemas.microsoft.com/office/drawing/2014/main" id="{76614244-AD86-4CBF-AC30-29190419022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9963" y="138025"/>
            <a:ext cx="1026968" cy="5134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770676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Imag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20277" y="1881809"/>
            <a:ext cx="5418897" cy="270289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35B171-50E3-2D49-9067-C9D2D5BD95F7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15069" y="1267809"/>
            <a:ext cx="8224106" cy="369332"/>
          </a:xfrm>
        </p:spPr>
        <p:txBody>
          <a:bodyPr wrap="square">
            <a:spAutoFit/>
          </a:bodyPr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  <a:lvl2pPr marL="173037" indent="0">
              <a:buNone/>
              <a:defRPr/>
            </a:lvl2pPr>
            <a:lvl3pPr marL="346075" indent="0">
              <a:buNone/>
              <a:defRPr/>
            </a:lvl3pPr>
            <a:lvl4pPr marL="519113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504825" y="1881809"/>
            <a:ext cx="2517775" cy="155733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endParaRPr lang="en-US"/>
          </a:p>
        </p:txBody>
      </p:sp>
      <p:pic>
        <p:nvPicPr>
          <p:cNvPr id="9" name="Picture 2" descr="Reynolds American">
            <a:extLst>
              <a:ext uri="{FF2B5EF4-FFF2-40B4-BE49-F238E27FC236}">
                <a16:creationId xmlns:a16="http://schemas.microsoft.com/office/drawing/2014/main" id="{336FB10A-04C2-4AB9-B65D-047F3978800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9963" y="138025"/>
            <a:ext cx="1026968" cy="5134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9966520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S_Long_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5CD37074-A591-944C-BA70-B00434A374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5070" y="778812"/>
            <a:ext cx="6509713" cy="424732"/>
          </a:xfrm>
        </p:spPr>
        <p:txBody>
          <a:bodyPr wrap="none" anchor="b">
            <a:noAutofit/>
          </a:bodyPr>
          <a:lstStyle>
            <a:lvl1pPr>
              <a:defRPr sz="2000"/>
            </a:lvl1pPr>
          </a:lstStyle>
          <a:p>
            <a:r>
              <a:rPr lang="en-US"/>
              <a:t>Case Study – Click to edit Master title style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2C542F65-93E9-424D-9712-C76225761F2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16049" y="1231638"/>
            <a:ext cx="6517412" cy="286232"/>
          </a:xfrm>
        </p:spPr>
        <p:txBody>
          <a:bodyPr wrap="square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4" name="Content Placeholder 10">
            <a:extLst>
              <a:ext uri="{FF2B5EF4-FFF2-40B4-BE49-F238E27FC236}">
                <a16:creationId xmlns:a16="http://schemas.microsoft.com/office/drawing/2014/main" id="{BB43D483-74B6-A849-84DD-E6A16F66C25A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7198668" y="371502"/>
            <a:ext cx="1736725" cy="1085850"/>
          </a:xfrm>
          <a:noFill/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 lvl="0"/>
            <a:r>
              <a:rPr lang="en-US"/>
              <a:t>Click icon to add text or picture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C5C8A5FC-1F11-1045-9FB0-529084CD92A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271339" y="1976438"/>
            <a:ext cx="2681288" cy="2608262"/>
          </a:xfrm>
        </p:spPr>
        <p:txBody>
          <a:bodyPr>
            <a:noAutofit/>
          </a:bodyPr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 marL="920750" indent="-169863">
              <a:tabLst/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1A8A05C9-9B54-EA4B-AD1E-54B44898992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349097" y="1976438"/>
            <a:ext cx="2681288" cy="2608262"/>
          </a:xfrm>
        </p:spPr>
        <p:txBody>
          <a:bodyPr>
            <a:noAutofit/>
          </a:bodyPr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 marL="920750" indent="-169863">
              <a:tabLst/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8E633CF0-AA59-C646-9C61-EEF72FA994C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15070" y="1976438"/>
            <a:ext cx="2681288" cy="2608262"/>
          </a:xfrm>
        </p:spPr>
        <p:txBody>
          <a:bodyPr>
            <a:noAutofit/>
          </a:bodyPr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 marL="920750" indent="-169863">
              <a:tabLst/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7338CA9-B1A1-B249-BFAB-5CDA53DB42B3}"/>
              </a:ext>
            </a:extLst>
          </p:cNvPr>
          <p:cNvSpPr txBox="1"/>
          <p:nvPr/>
        </p:nvSpPr>
        <p:spPr>
          <a:xfrm>
            <a:off x="415070" y="1700980"/>
            <a:ext cx="2703871" cy="258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0" indent="0" algn="l" defTabSz="685783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None/>
              <a:tabLst/>
            </a:pPr>
            <a:r>
              <a:rPr lang="en-US" sz="1200" kern="120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PROBLEM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718F6BF-984C-3741-ACE3-F90A6DC636FF}"/>
              </a:ext>
            </a:extLst>
          </p:cNvPr>
          <p:cNvSpPr txBox="1"/>
          <p:nvPr/>
        </p:nvSpPr>
        <p:spPr>
          <a:xfrm>
            <a:off x="3349097" y="1700980"/>
            <a:ext cx="2703871" cy="258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0" indent="0" algn="l" defTabSz="685783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None/>
              <a:tabLst/>
            </a:pPr>
            <a:r>
              <a:rPr lang="en-US" sz="1200" kern="120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SOLUTION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9BD3D492-BAEA-5647-9D23-FA28739D79CD}"/>
              </a:ext>
            </a:extLst>
          </p:cNvPr>
          <p:cNvSpPr txBox="1"/>
          <p:nvPr/>
        </p:nvSpPr>
        <p:spPr>
          <a:xfrm>
            <a:off x="6271339" y="1700980"/>
            <a:ext cx="2703871" cy="258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0" indent="0" algn="l" defTabSz="685783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None/>
              <a:tabLst/>
            </a:pPr>
            <a:r>
              <a:rPr lang="en-US" sz="1200" kern="120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RESULTS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8088A26-54B6-5E48-940B-873BD055300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6209" b="37925"/>
          <a:stretch/>
        </p:blipFill>
        <p:spPr>
          <a:xfrm>
            <a:off x="8343900" y="4679950"/>
            <a:ext cx="800100" cy="463550"/>
          </a:xfrm>
          <a:prstGeom prst="rect">
            <a:avLst/>
          </a:pr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A9899CDC-58D8-D747-9F2E-CB445CBDC2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49974" y="4821306"/>
            <a:ext cx="409324" cy="215444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9835B171-50E3-2D49-9067-C9D2D5BD95F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7E980C4-2FED-B743-9729-84EB868B9FC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94390" y="284357"/>
            <a:ext cx="2875803" cy="28758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73136197-DF33-304B-AB82-7132E345E9EE}"/>
              </a:ext>
            </a:extLst>
          </p:cNvPr>
          <p:cNvSpPr txBox="1"/>
          <p:nvPr userDrawn="1"/>
        </p:nvSpPr>
        <p:spPr>
          <a:xfrm>
            <a:off x="415069" y="4836695"/>
            <a:ext cx="2683566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b="0" i="0" u="none" strike="noStrike" kern="120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TEKsystems Global Services, LLC © ALL RIGHTS RESERVED. </a:t>
            </a:r>
            <a:endParaRPr lang="en-US" sz="100">
              <a:solidFill>
                <a:schemeClr val="bg1">
                  <a:lumMod val="50000"/>
                </a:schemeClr>
              </a:solidFill>
              <a:latin typeface="Calibri" panose="020F0502020204030204"/>
            </a:endParaRPr>
          </a:p>
        </p:txBody>
      </p:sp>
      <p:pic>
        <p:nvPicPr>
          <p:cNvPr id="19" name="Picture 2" descr="Reynolds American">
            <a:extLst>
              <a:ext uri="{FF2B5EF4-FFF2-40B4-BE49-F238E27FC236}">
                <a16:creationId xmlns:a16="http://schemas.microsoft.com/office/drawing/2014/main" id="{5DDD71AF-B1F4-4504-BA60-F786551F3B9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9963" y="138025"/>
            <a:ext cx="1026968" cy="5134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0207847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S_Long_Short_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5CD37074-A591-944C-BA70-B00434A374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5070" y="778812"/>
            <a:ext cx="6509713" cy="424732"/>
          </a:xfrm>
        </p:spPr>
        <p:txBody>
          <a:bodyPr wrap="none" anchor="b">
            <a:noAutofit/>
          </a:bodyPr>
          <a:lstStyle>
            <a:lvl1pPr>
              <a:defRPr sz="2000"/>
            </a:lvl1pPr>
          </a:lstStyle>
          <a:p>
            <a:r>
              <a:rPr lang="en-US"/>
              <a:t>Case Study – Click to edit Master title style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2C542F65-93E9-424D-9712-C76225761F2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16049" y="1231638"/>
            <a:ext cx="6517412" cy="463973"/>
          </a:xfrm>
        </p:spPr>
        <p:txBody>
          <a:bodyPr wrap="square">
            <a:spAutoFit/>
          </a:bodyPr>
          <a:lstStyle>
            <a:lvl1pPr marL="0" indent="0">
              <a:lnSpc>
                <a:spcPts val="1540"/>
              </a:lnSpc>
              <a:spcBef>
                <a:spcPts val="0"/>
              </a:spcBef>
              <a:buNone/>
              <a:defRPr sz="12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 – </a:t>
            </a:r>
            <a:br>
              <a:rPr lang="en-US"/>
            </a:br>
            <a:r>
              <a:rPr lang="en-US"/>
              <a:t>Two Line Max</a:t>
            </a:r>
          </a:p>
        </p:txBody>
      </p:sp>
      <p:sp>
        <p:nvSpPr>
          <p:cNvPr id="24" name="Content Placeholder 10">
            <a:extLst>
              <a:ext uri="{FF2B5EF4-FFF2-40B4-BE49-F238E27FC236}">
                <a16:creationId xmlns:a16="http://schemas.microsoft.com/office/drawing/2014/main" id="{BB43D483-74B6-A849-84DD-E6A16F66C25A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7198668" y="601059"/>
            <a:ext cx="1736725" cy="1085850"/>
          </a:xfrm>
          <a:noFill/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 lvl="0"/>
            <a:r>
              <a:rPr lang="en-US"/>
              <a:t>Click icon to add text or picture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C5C8A5FC-1F11-1045-9FB0-529084CD92A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271339" y="2149127"/>
            <a:ext cx="2681288" cy="2449506"/>
          </a:xfrm>
        </p:spPr>
        <p:txBody>
          <a:bodyPr>
            <a:noAutofit/>
          </a:bodyPr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 marL="920750" indent="-169863">
              <a:tabLst/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1A8A05C9-9B54-EA4B-AD1E-54B44898992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349097" y="2149127"/>
            <a:ext cx="2681288" cy="2449506"/>
          </a:xfrm>
        </p:spPr>
        <p:txBody>
          <a:bodyPr>
            <a:noAutofit/>
          </a:bodyPr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 marL="920750" indent="-169863">
              <a:tabLst/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8E633CF0-AA59-C646-9C61-EEF72FA994C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15070" y="2149127"/>
            <a:ext cx="2681288" cy="2449506"/>
          </a:xfrm>
        </p:spPr>
        <p:txBody>
          <a:bodyPr>
            <a:noAutofit/>
          </a:bodyPr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 marL="920750" indent="-169863">
              <a:tabLst/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7338CA9-B1A1-B249-BFAB-5CDA53DB42B3}"/>
              </a:ext>
            </a:extLst>
          </p:cNvPr>
          <p:cNvSpPr txBox="1"/>
          <p:nvPr/>
        </p:nvSpPr>
        <p:spPr>
          <a:xfrm>
            <a:off x="415070" y="1873670"/>
            <a:ext cx="2703871" cy="258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0" indent="0" algn="l" defTabSz="685783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None/>
              <a:tabLst/>
            </a:pPr>
            <a:r>
              <a:rPr lang="en-US" sz="1200" kern="120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PROBLEM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718F6BF-984C-3741-ACE3-F90A6DC636FF}"/>
              </a:ext>
            </a:extLst>
          </p:cNvPr>
          <p:cNvSpPr txBox="1"/>
          <p:nvPr/>
        </p:nvSpPr>
        <p:spPr>
          <a:xfrm>
            <a:off x="3349097" y="1873670"/>
            <a:ext cx="2703871" cy="258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0" indent="0" algn="l" defTabSz="685783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None/>
              <a:tabLst/>
            </a:pPr>
            <a:r>
              <a:rPr lang="en-US" sz="1200" kern="120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SOLUTION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9BD3D492-BAEA-5647-9D23-FA28739D79CD}"/>
              </a:ext>
            </a:extLst>
          </p:cNvPr>
          <p:cNvSpPr txBox="1"/>
          <p:nvPr/>
        </p:nvSpPr>
        <p:spPr>
          <a:xfrm>
            <a:off x="6271339" y="1873670"/>
            <a:ext cx="2703871" cy="258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0" indent="0" algn="l" defTabSz="685783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None/>
              <a:tabLst/>
            </a:pPr>
            <a:r>
              <a:rPr lang="en-US" sz="1200" kern="120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RESULTS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7781946-8460-004C-9808-25806406F6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6209" b="37925"/>
          <a:stretch/>
        </p:blipFill>
        <p:spPr>
          <a:xfrm>
            <a:off x="8343900" y="4679950"/>
            <a:ext cx="800100" cy="463550"/>
          </a:xfrm>
          <a:prstGeom prst="rect">
            <a:avLst/>
          </a:pr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CE97208E-88AB-3D43-A9ED-B009628C5A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49974" y="4821306"/>
            <a:ext cx="409324" cy="215444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9835B171-50E3-2D49-9067-C9D2D5BD95F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EA2FC93-253D-4D44-89F0-52AE130D6A9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94390" y="284357"/>
            <a:ext cx="2875803" cy="28758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004EC6E1-6F3D-F14C-B779-09AFBE04A8E1}"/>
              </a:ext>
            </a:extLst>
          </p:cNvPr>
          <p:cNvSpPr txBox="1"/>
          <p:nvPr userDrawn="1"/>
        </p:nvSpPr>
        <p:spPr>
          <a:xfrm>
            <a:off x="415069" y="4836695"/>
            <a:ext cx="2683566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b="0" i="0" u="none" strike="noStrike" kern="120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TEKsystems Global Services, LLC © ALL RIGHTS RESERVED. </a:t>
            </a:r>
            <a:endParaRPr lang="en-US" sz="100">
              <a:solidFill>
                <a:schemeClr val="bg1">
                  <a:lumMod val="50000"/>
                </a:schemeClr>
              </a:solidFill>
              <a:latin typeface="Calibri" panose="020F0502020204030204"/>
            </a:endParaRPr>
          </a:p>
        </p:txBody>
      </p:sp>
      <p:pic>
        <p:nvPicPr>
          <p:cNvPr id="19" name="Picture 2" descr="Reynolds American">
            <a:extLst>
              <a:ext uri="{FF2B5EF4-FFF2-40B4-BE49-F238E27FC236}">
                <a16:creationId xmlns:a16="http://schemas.microsoft.com/office/drawing/2014/main" id="{3C05649A-B1BB-45CF-8E94-4086C51CB0E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9963" y="138025"/>
            <a:ext cx="1026968" cy="5134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8409973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S_Long__Long_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5CD37074-A591-944C-BA70-B00434A374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5070" y="778812"/>
            <a:ext cx="6509713" cy="424732"/>
          </a:xfrm>
        </p:spPr>
        <p:txBody>
          <a:bodyPr wrap="none" anchor="b">
            <a:noAutofit/>
          </a:bodyPr>
          <a:lstStyle>
            <a:lvl1pPr>
              <a:defRPr sz="2000"/>
            </a:lvl1pPr>
          </a:lstStyle>
          <a:p>
            <a:r>
              <a:rPr lang="en-US"/>
              <a:t>Case Study – Click to edit Master title style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2C542F65-93E9-424D-9712-C76225761F2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16049" y="1231638"/>
            <a:ext cx="6517412" cy="848694"/>
          </a:xfrm>
        </p:spPr>
        <p:txBody>
          <a:bodyPr wrap="square">
            <a:spAutoFit/>
          </a:bodyPr>
          <a:lstStyle>
            <a:lvl1pPr marL="0" indent="0">
              <a:lnSpc>
                <a:spcPts val="1540"/>
              </a:lnSpc>
              <a:spcBef>
                <a:spcPts val="0"/>
              </a:spcBef>
              <a:buNone/>
              <a:defRPr sz="12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 – </a:t>
            </a:r>
            <a:br>
              <a:rPr lang="en-US"/>
            </a:br>
            <a:r>
              <a:rPr lang="en-US"/>
              <a:t>Four</a:t>
            </a:r>
          </a:p>
          <a:p>
            <a:pPr lvl="0"/>
            <a:r>
              <a:rPr lang="en-US"/>
              <a:t>Line</a:t>
            </a:r>
          </a:p>
          <a:p>
            <a:pPr lvl="0"/>
            <a:r>
              <a:rPr lang="en-US"/>
              <a:t>Max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C5C8A5FC-1F11-1045-9FB0-529084CD92A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271339" y="2539744"/>
            <a:ext cx="2681288" cy="2044955"/>
          </a:xfrm>
        </p:spPr>
        <p:txBody>
          <a:bodyPr>
            <a:noAutofit/>
          </a:bodyPr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 marL="920750" indent="-169863">
              <a:tabLst/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1A8A05C9-9B54-EA4B-AD1E-54B44898992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349097" y="2539744"/>
            <a:ext cx="2681288" cy="2044955"/>
          </a:xfrm>
        </p:spPr>
        <p:txBody>
          <a:bodyPr>
            <a:noAutofit/>
          </a:bodyPr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 marL="920750" indent="-169863">
              <a:tabLst/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8E633CF0-AA59-C646-9C61-EEF72FA994C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15070" y="2539744"/>
            <a:ext cx="2681288" cy="2044955"/>
          </a:xfrm>
        </p:spPr>
        <p:txBody>
          <a:bodyPr>
            <a:noAutofit/>
          </a:bodyPr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 marL="920750" indent="-169863">
              <a:tabLst/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7338CA9-B1A1-B249-BFAB-5CDA53DB42B3}"/>
              </a:ext>
            </a:extLst>
          </p:cNvPr>
          <p:cNvSpPr txBox="1"/>
          <p:nvPr/>
        </p:nvSpPr>
        <p:spPr>
          <a:xfrm>
            <a:off x="415070" y="2264287"/>
            <a:ext cx="2703871" cy="258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0" indent="0" algn="l" defTabSz="685783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None/>
              <a:tabLst/>
            </a:pPr>
            <a:r>
              <a:rPr lang="en-US" sz="1200" kern="120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PROBLEM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718F6BF-984C-3741-ACE3-F90A6DC636FF}"/>
              </a:ext>
            </a:extLst>
          </p:cNvPr>
          <p:cNvSpPr txBox="1"/>
          <p:nvPr/>
        </p:nvSpPr>
        <p:spPr>
          <a:xfrm>
            <a:off x="3349097" y="2264287"/>
            <a:ext cx="2703871" cy="258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0" indent="0" algn="l" defTabSz="685783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None/>
              <a:tabLst/>
            </a:pPr>
            <a:r>
              <a:rPr lang="en-US" sz="1200" kern="120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SOLUTION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9BD3D492-BAEA-5647-9D23-FA28739D79CD}"/>
              </a:ext>
            </a:extLst>
          </p:cNvPr>
          <p:cNvSpPr txBox="1"/>
          <p:nvPr/>
        </p:nvSpPr>
        <p:spPr>
          <a:xfrm>
            <a:off x="6271339" y="2264287"/>
            <a:ext cx="2703871" cy="258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0" indent="0" algn="l" defTabSz="685783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None/>
              <a:tabLst/>
            </a:pPr>
            <a:r>
              <a:rPr lang="en-US" sz="1200" kern="120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RESULTS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D0EFD2C-55A4-1D42-8766-07762445D8B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6209" b="37925"/>
          <a:stretch/>
        </p:blipFill>
        <p:spPr>
          <a:xfrm>
            <a:off x="8343900" y="4679950"/>
            <a:ext cx="800100" cy="463550"/>
          </a:xfrm>
          <a:prstGeom prst="rect">
            <a:avLst/>
          </a:pr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53746F9-E20E-9349-83F6-39C149BE8E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49974" y="4821306"/>
            <a:ext cx="409324" cy="215444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9835B171-50E3-2D49-9067-C9D2D5BD95F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EA2BC649-7103-5647-BFCE-BE835F75365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94390" y="284357"/>
            <a:ext cx="2875803" cy="28758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7C8BE08D-2887-9F4F-BFEA-B5A4DDEF29B7}"/>
              </a:ext>
            </a:extLst>
          </p:cNvPr>
          <p:cNvSpPr txBox="1"/>
          <p:nvPr userDrawn="1"/>
        </p:nvSpPr>
        <p:spPr>
          <a:xfrm>
            <a:off x="415069" y="4836695"/>
            <a:ext cx="2683566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b="0" i="0" u="none" strike="noStrike" kern="120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TEKsystems Global Services, LLC © ALL RIGHTS RESERVED. </a:t>
            </a:r>
            <a:endParaRPr lang="en-US" sz="100">
              <a:solidFill>
                <a:schemeClr val="bg1">
                  <a:lumMod val="50000"/>
                </a:schemeClr>
              </a:solidFill>
              <a:latin typeface="Calibri" panose="020F0502020204030204"/>
            </a:endParaRPr>
          </a:p>
        </p:txBody>
      </p:sp>
      <p:sp>
        <p:nvSpPr>
          <p:cNvPr id="19" name="Content Placeholder 10">
            <a:extLst>
              <a:ext uri="{FF2B5EF4-FFF2-40B4-BE49-F238E27FC236}">
                <a16:creationId xmlns:a16="http://schemas.microsoft.com/office/drawing/2014/main" id="{6BFEABDC-2F62-5B4F-9587-01F485F70FC3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7198668" y="601059"/>
            <a:ext cx="1736725" cy="1085850"/>
          </a:xfrm>
          <a:noFill/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 lvl="0"/>
            <a:r>
              <a:rPr lang="en-US"/>
              <a:t>Click icon to add text or picture</a:t>
            </a:r>
          </a:p>
        </p:txBody>
      </p:sp>
      <p:pic>
        <p:nvPicPr>
          <p:cNvPr id="21" name="Picture 2" descr="Reynolds American">
            <a:extLst>
              <a:ext uri="{FF2B5EF4-FFF2-40B4-BE49-F238E27FC236}">
                <a16:creationId xmlns:a16="http://schemas.microsoft.com/office/drawing/2014/main" id="{8AFA4BE4-7F32-4999-B263-96F30EE4861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9963" y="138025"/>
            <a:ext cx="1026968" cy="5134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6643130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S_Short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F3CF9E13-1062-704B-BCF4-3750A3DA88C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620725" y="0"/>
            <a:ext cx="3523275" cy="4312511"/>
          </a:xfrm>
          <a:custGeom>
            <a:avLst/>
            <a:gdLst>
              <a:gd name="connsiteX0" fmla="*/ 0 w 3523275"/>
              <a:gd name="connsiteY0" fmla="*/ 0 h 4312511"/>
              <a:gd name="connsiteX1" fmla="*/ 3523275 w 3523275"/>
              <a:gd name="connsiteY1" fmla="*/ 0 h 4312511"/>
              <a:gd name="connsiteX2" fmla="*/ 3523275 w 3523275"/>
              <a:gd name="connsiteY2" fmla="*/ 4310873 h 4312511"/>
              <a:gd name="connsiteX3" fmla="*/ 3073650 w 3523275"/>
              <a:gd name="connsiteY3" fmla="*/ 4312511 h 4312511"/>
              <a:gd name="connsiteX4" fmla="*/ 2122134 w 3523275"/>
              <a:gd name="connsiteY4" fmla="*/ 3681803 h 43125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23275" h="4312511">
                <a:moveTo>
                  <a:pt x="0" y="0"/>
                </a:moveTo>
                <a:lnTo>
                  <a:pt x="3523275" y="0"/>
                </a:lnTo>
                <a:lnTo>
                  <a:pt x="3523275" y="4310873"/>
                </a:lnTo>
                <a:lnTo>
                  <a:pt x="3073650" y="4312511"/>
                </a:lnTo>
                <a:cubicBezTo>
                  <a:pt x="2645905" y="4312511"/>
                  <a:pt x="2329701" y="4112769"/>
                  <a:pt x="2122134" y="3681803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 algn="r">
              <a:buNone/>
              <a:defRPr sz="1200" cap="all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5F3C4B75-A8FD-F245-A525-DC67E4A978F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16106" y="2083430"/>
            <a:ext cx="2878351" cy="977113"/>
          </a:xfrm>
        </p:spPr>
        <p:txBody>
          <a:bodyPr>
            <a:noAutofit/>
          </a:bodyPr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 marL="920750" indent="-169863">
              <a:tabLst/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CF807FA8-5D00-6744-8D29-22B54460644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13126" y="3553976"/>
            <a:ext cx="2870848" cy="915315"/>
          </a:xfrm>
        </p:spPr>
        <p:txBody>
          <a:bodyPr>
            <a:noAutofit/>
          </a:bodyPr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 marL="920750" indent="-169863">
              <a:tabLst/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A023708F-EF81-C143-8395-9F6BB44EFE3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581442" y="2083429"/>
            <a:ext cx="2877700" cy="2399794"/>
          </a:xfrm>
        </p:spPr>
        <p:txBody>
          <a:bodyPr>
            <a:noAutofit/>
          </a:bodyPr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 marL="920750" indent="-169863">
              <a:tabLst/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10F0971D-FA4F-E04D-B2EB-42AB1C0EC5F0}"/>
              </a:ext>
            </a:extLst>
          </p:cNvPr>
          <p:cNvSpPr txBox="1"/>
          <p:nvPr/>
        </p:nvSpPr>
        <p:spPr>
          <a:xfrm>
            <a:off x="416106" y="1802546"/>
            <a:ext cx="2703871" cy="258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0" indent="0" algn="l" defTabSz="685783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None/>
              <a:tabLst/>
            </a:pPr>
            <a:r>
              <a:rPr lang="en-US" sz="1200" kern="120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PROBLEM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DBF493CF-F02D-2042-8133-92A0B49E679D}"/>
              </a:ext>
            </a:extLst>
          </p:cNvPr>
          <p:cNvSpPr txBox="1"/>
          <p:nvPr/>
        </p:nvSpPr>
        <p:spPr>
          <a:xfrm>
            <a:off x="416106" y="3286547"/>
            <a:ext cx="2703871" cy="258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0" indent="0" algn="l" defTabSz="685783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None/>
              <a:tabLst/>
            </a:pPr>
            <a:r>
              <a:rPr lang="en-US" sz="1200" kern="120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SOLUTION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E359CC83-6195-794C-82A2-F0616C1B550D}"/>
              </a:ext>
            </a:extLst>
          </p:cNvPr>
          <p:cNvSpPr txBox="1"/>
          <p:nvPr/>
        </p:nvSpPr>
        <p:spPr>
          <a:xfrm>
            <a:off x="3584422" y="1802546"/>
            <a:ext cx="2703871" cy="258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0" indent="0" algn="l" defTabSz="685783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None/>
              <a:tabLst/>
            </a:pPr>
            <a:r>
              <a:rPr lang="en-US" sz="1200" kern="120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RESULTS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24B6D95-50D9-7F45-8F39-2536846A9B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5070" y="778812"/>
            <a:ext cx="5461947" cy="424732"/>
          </a:xfrm>
        </p:spPr>
        <p:txBody>
          <a:bodyPr wrap="none" anchor="b">
            <a:noAutofit/>
          </a:bodyPr>
          <a:lstStyle>
            <a:lvl1pPr>
              <a:defRPr sz="2000"/>
            </a:lvl1pPr>
          </a:lstStyle>
          <a:p>
            <a:r>
              <a:rPr lang="en-US"/>
              <a:t>Case Study – Click to edit Master title sty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08381D70-D22D-D44B-B413-3C7E8783BFC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16049" y="1231638"/>
            <a:ext cx="5468407" cy="463973"/>
          </a:xfrm>
        </p:spPr>
        <p:txBody>
          <a:bodyPr wrap="square">
            <a:spAutoFit/>
          </a:bodyPr>
          <a:lstStyle>
            <a:lvl1pPr marL="0" indent="0">
              <a:lnSpc>
                <a:spcPts val="1540"/>
              </a:lnSpc>
              <a:spcBef>
                <a:spcPts val="0"/>
              </a:spcBef>
              <a:buNone/>
              <a:defRPr sz="12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 – </a:t>
            </a:r>
            <a:br>
              <a:rPr lang="en-US"/>
            </a:br>
            <a:r>
              <a:rPr lang="en-US"/>
              <a:t>Two Line Max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BF03B9F-A5C7-454B-8D22-FE723613F3C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49974" y="4821306"/>
            <a:ext cx="409324" cy="215444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9835B171-50E3-2D49-9067-C9D2D5BD95F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169762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35B171-50E3-2D49-9067-C9D2D5BD95F7}" type="slidenum">
              <a:rPr lang="en-US" smtClean="0"/>
              <a:t>‹#›</a:t>
            </a:fld>
            <a:endParaRPr lang="en-US"/>
          </a:p>
        </p:txBody>
      </p:sp>
      <p:pic>
        <p:nvPicPr>
          <p:cNvPr id="5" name="Picture 2" descr="Reynolds American">
            <a:extLst>
              <a:ext uri="{FF2B5EF4-FFF2-40B4-BE49-F238E27FC236}">
                <a16:creationId xmlns:a16="http://schemas.microsoft.com/office/drawing/2014/main" id="{E14297F8-545A-4DE0-BCC4-141D6D7C29C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9963" y="138025"/>
            <a:ext cx="1026968" cy="5134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3650070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RK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1942414" y="2400300"/>
            <a:ext cx="5259170" cy="3429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US" sz="2100" spc="225">
                <a:solidFill>
                  <a:schemeClr val="tx1"/>
                </a:solidFill>
                <a:latin typeface="+mj-lt"/>
                <a:ea typeface="Arial" pitchFamily="34" charset="-128"/>
              </a:rPr>
              <a:t>STANDARD</a:t>
            </a:r>
            <a:r>
              <a:rPr lang="en-US" sz="2100" spc="225" baseline="0">
                <a:solidFill>
                  <a:schemeClr val="tx1"/>
                </a:solidFill>
                <a:latin typeface="+mj-lt"/>
                <a:ea typeface="Arial" pitchFamily="34" charset="-128"/>
              </a:rPr>
              <a:t> DEFAULT</a:t>
            </a:r>
            <a:r>
              <a:rPr lang="en-US" sz="2100" spc="225">
                <a:solidFill>
                  <a:schemeClr val="tx1"/>
                </a:solidFill>
                <a:latin typeface="+mj-lt"/>
                <a:ea typeface="Arial" pitchFamily="34" charset="-128"/>
              </a:rPr>
              <a:t> LAYOUTS</a:t>
            </a:r>
            <a:endParaRPr lang="en-US" sz="2100" spc="225" err="1">
              <a:solidFill>
                <a:schemeClr val="tx1"/>
              </a:solidFill>
              <a:latin typeface="+mj-lt"/>
              <a:ea typeface="Arial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1263691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47847" y="1847088"/>
            <a:ext cx="4626978" cy="1117229"/>
          </a:xfrm>
        </p:spPr>
        <p:txBody>
          <a:bodyPr wrap="square" anchor="b">
            <a:spAutoFit/>
          </a:bodyPr>
          <a:lstStyle>
            <a:lvl1pPr algn="l">
              <a:defRPr sz="3700" b="1" cap="all" baseline="0"/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47847" y="2898648"/>
            <a:ext cx="4626978" cy="313932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847847" y="4048191"/>
            <a:ext cx="4626978" cy="258532"/>
          </a:xfrm>
        </p:spPr>
        <p:txBody>
          <a:bodyPr>
            <a:spAutoFit/>
          </a:bodyPr>
          <a:lstStyle>
            <a:lvl1pPr marL="0" indent="0">
              <a:buNone/>
              <a:defRPr sz="12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Presented by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847847" y="4253378"/>
            <a:ext cx="4626978" cy="258532"/>
          </a:xfrm>
        </p:spPr>
        <p:txBody>
          <a:bodyPr>
            <a:spAutoFit/>
          </a:bodyPr>
          <a:lstStyle>
            <a:lvl1pPr marL="0" indent="0">
              <a:buNone/>
              <a:defRPr sz="1200"/>
            </a:lvl1pPr>
          </a:lstStyle>
          <a:p>
            <a:pPr lvl="0"/>
            <a:r>
              <a:rPr lang="en-US"/>
              <a:t>Date goes her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1BB529B-6D1E-7A45-AE36-F7546910C85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47847" y="982375"/>
            <a:ext cx="3087780" cy="5013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36230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erior - Two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72415092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Interior - NO Intro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19"/>
          <p:cNvSpPr>
            <a:spLocks noGrp="1"/>
          </p:cNvSpPr>
          <p:nvPr>
            <p:ph type="title" hasCustomPrompt="1"/>
          </p:nvPr>
        </p:nvSpPr>
        <p:spPr>
          <a:xfrm>
            <a:off x="465668" y="-1100"/>
            <a:ext cx="6265333" cy="858350"/>
          </a:xfrm>
          <a:prstGeom prst="rect">
            <a:avLst/>
          </a:prstGeom>
        </p:spPr>
        <p:txBody>
          <a:bodyPr lIns="0" tIns="0" rIns="0" bIns="0" rtlCol="0" anchor="ctr">
            <a:noAutofit/>
          </a:bodyPr>
          <a:lstStyle>
            <a:lvl1pPr algn="l">
              <a:defRPr sz="1500" b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3680298674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Interior Slide -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43"/>
            <a:ext cx="9144000" cy="854964"/>
          </a:xfrm>
          <a:prstGeom prst="rect">
            <a:avLst/>
          </a:prstGeom>
        </p:spPr>
      </p:pic>
      <p:sp>
        <p:nvSpPr>
          <p:cNvPr id="4" name="Slide Number Placeholder 4"/>
          <p:cNvSpPr txBox="1">
            <a:spLocks/>
          </p:cNvSpPr>
          <p:nvPr/>
        </p:nvSpPr>
        <p:spPr>
          <a:xfrm>
            <a:off x="6597651" y="654844"/>
            <a:ext cx="2166852" cy="154781"/>
          </a:xfrm>
          <a:prstGeom prst="rect">
            <a:avLst/>
          </a:prstGeom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pPr algn="r" defTabSz="341710">
              <a:defRPr/>
            </a:pPr>
            <a:r>
              <a:rPr lang="en-US" sz="675" kern="0">
                <a:solidFill>
                  <a:srgbClr val="666666"/>
                </a:solidFill>
              </a:rPr>
              <a:t>Slide </a:t>
            </a:r>
            <a:fld id="{BFF31F1E-BF75-2E47-B9E7-8EBE58336795}" type="slidenum">
              <a:rPr lang="en-US" sz="675" kern="0" smtClean="0">
                <a:solidFill>
                  <a:srgbClr val="666666"/>
                </a:solidFill>
              </a:rPr>
              <a:pPr algn="r" defTabSz="341710">
                <a:defRPr/>
              </a:pPr>
              <a:t>‹#›</a:t>
            </a:fld>
            <a:endParaRPr lang="en-US" sz="675" kern="0">
              <a:solidFill>
                <a:srgbClr val="666666"/>
              </a:solidFill>
            </a:endParaRPr>
          </a:p>
        </p:txBody>
      </p:sp>
      <p:sp>
        <p:nvSpPr>
          <p:cNvPr id="5" name="Title Placeholder 19"/>
          <p:cNvSpPr>
            <a:spLocks noGrp="1"/>
          </p:cNvSpPr>
          <p:nvPr>
            <p:ph type="title" hasCustomPrompt="1"/>
          </p:nvPr>
        </p:nvSpPr>
        <p:spPr>
          <a:xfrm>
            <a:off x="465668" y="-1100"/>
            <a:ext cx="6265333" cy="858350"/>
          </a:xfrm>
          <a:prstGeom prst="rect">
            <a:avLst/>
          </a:prstGeom>
        </p:spPr>
        <p:txBody>
          <a:bodyPr lIns="0" tIns="0" rIns="0" bIns="0" rtlCol="0" anchor="ctr">
            <a:noAutofit/>
          </a:bodyPr>
          <a:lstStyle>
            <a:lvl1pPr algn="l">
              <a:defRPr sz="1500" b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465668" y="992215"/>
            <a:ext cx="8437033" cy="3951260"/>
          </a:xfrm>
          <a:prstGeom prst="rect">
            <a:avLst/>
          </a:prstGeom>
        </p:spPr>
        <p:txBody>
          <a:bodyPr vert="horz" lIns="0" tIns="0" rIns="0" bIns="0">
            <a:normAutofit/>
          </a:bodyPr>
          <a:lstStyle>
            <a:lvl1pPr marL="137160" indent="-137160">
              <a:spcBef>
                <a:spcPts val="90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charset="2"/>
              <a:buChar char="§"/>
              <a:defRPr sz="1200" b="0" cap="none">
                <a:solidFill>
                  <a:schemeClr val="tx2"/>
                </a:solidFill>
                <a:latin typeface="+mn-lt"/>
              </a:defRPr>
            </a:lvl1pPr>
            <a:lvl2pPr marL="274320" indent="-137160">
              <a:spcBef>
                <a:spcPts val="45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charset="2"/>
              <a:buChar char="§"/>
              <a:defRPr sz="1050" b="0" cap="none">
                <a:solidFill>
                  <a:schemeClr val="accent3"/>
                </a:solidFill>
                <a:latin typeface="+mn-lt"/>
              </a:defRPr>
            </a:lvl2pPr>
            <a:lvl3pPr marL="411480" indent="-137160">
              <a:spcBef>
                <a:spcPts val="45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charset="2"/>
              <a:buChar char="§"/>
              <a:defRPr sz="900" b="0" cap="none">
                <a:solidFill>
                  <a:schemeClr val="accent3"/>
                </a:solidFill>
                <a:latin typeface="+mn-lt"/>
              </a:defRPr>
            </a:lvl3pPr>
            <a:lvl4pPr marL="548640" indent="-137160">
              <a:spcBef>
                <a:spcPts val="45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charset="2"/>
              <a:buChar char="§"/>
              <a:defRPr sz="750" b="0" cap="none">
                <a:solidFill>
                  <a:schemeClr val="accent3"/>
                </a:solidFill>
                <a:latin typeface="+mn-lt"/>
              </a:defRPr>
            </a:lvl4pPr>
            <a:lvl5pPr marL="685800" indent="-137160">
              <a:spcBef>
                <a:spcPts val="45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charset="2"/>
              <a:buChar char="§"/>
              <a:defRPr sz="750" b="0" cap="none">
                <a:solidFill>
                  <a:schemeClr val="accent3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Agenda Bullet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72895184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613" y="215504"/>
            <a:ext cx="8229600" cy="435769"/>
          </a:xfrm>
        </p:spPr>
        <p:txBody>
          <a:bodyPr anchor="b"/>
          <a:lstStyle>
            <a:lvl1pPr>
              <a:defRPr baseline="0"/>
            </a:lvl1pPr>
          </a:lstStyle>
          <a:p>
            <a:r>
              <a:rPr lang="en-US"/>
              <a:t>Slide title (Arial font, size 30, sentence case)</a:t>
            </a:r>
            <a:endParaRPr lang="en-CA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9449" y="962025"/>
            <a:ext cx="8254908" cy="3395663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/>
              <a:t>Click to add main bullet (Arial font, size 24)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11515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847847" y="1847088"/>
            <a:ext cx="4626978" cy="1117229"/>
          </a:xfrm>
        </p:spPr>
        <p:txBody>
          <a:bodyPr wrap="square" anchor="b">
            <a:spAutoFit/>
          </a:bodyPr>
          <a:lstStyle>
            <a:lvl1pPr algn="l">
              <a:defRPr sz="3700" b="1" cap="all" baseline="0"/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847847" y="2898648"/>
            <a:ext cx="4626978" cy="313932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2C91AB4-7E4D-D449-A2D1-D9EEF381AAD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47847" y="982375"/>
            <a:ext cx="3087780" cy="5013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73485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35B171-50E3-2D49-9067-C9D2D5BD95F7}" type="slidenum">
              <a:rPr lang="en-US" smtClean="0"/>
              <a:t>‹#›</a:t>
            </a:fld>
            <a:endParaRPr lang="en-US"/>
          </a:p>
        </p:txBody>
      </p:sp>
      <p:pic>
        <p:nvPicPr>
          <p:cNvPr id="6146" name="Picture 2" descr="Reynolds American">
            <a:extLst>
              <a:ext uri="{FF2B5EF4-FFF2-40B4-BE49-F238E27FC236}">
                <a16:creationId xmlns:a16="http://schemas.microsoft.com/office/drawing/2014/main" id="{DD6BE858-3D8E-4656-A0AD-C0361A68EE2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9963" y="138025"/>
            <a:ext cx="1026968" cy="5134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7723975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35B171-50E3-2D49-9067-C9D2D5BD95F7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15069" y="1267809"/>
            <a:ext cx="8224106" cy="369332"/>
          </a:xfrm>
        </p:spPr>
        <p:txBody>
          <a:bodyPr wrap="square">
            <a:spAutoFit/>
          </a:bodyPr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  <a:lvl2pPr marL="173037" indent="0">
              <a:buNone/>
              <a:defRPr/>
            </a:lvl2pPr>
            <a:lvl3pPr marL="346075" indent="0">
              <a:buNone/>
              <a:defRPr/>
            </a:lvl3pPr>
            <a:lvl4pPr marL="519113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2" descr="Reynolds American">
            <a:extLst>
              <a:ext uri="{FF2B5EF4-FFF2-40B4-BE49-F238E27FC236}">
                <a16:creationId xmlns:a16="http://schemas.microsoft.com/office/drawing/2014/main" id="{541A21C6-F43A-4AAE-B5FC-E381F5826CF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9963" y="138025"/>
            <a:ext cx="1026968" cy="5134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74961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L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35B171-50E3-2D49-9067-C9D2D5BD95F7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15069" y="1267809"/>
            <a:ext cx="8224106" cy="369332"/>
          </a:xfrm>
        </p:spPr>
        <p:txBody>
          <a:bodyPr wrap="square">
            <a:spAutoFit/>
          </a:bodyPr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  <a:lvl2pPr marL="173037" indent="0">
              <a:buNone/>
              <a:defRPr/>
            </a:lvl2pPr>
            <a:lvl3pPr marL="346075" indent="0">
              <a:buNone/>
              <a:defRPr/>
            </a:lvl3pPr>
            <a:lvl4pPr marL="519113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15071" y="1881809"/>
            <a:ext cx="8224103" cy="2702891"/>
          </a:xfrm>
        </p:spPr>
        <p:txBody>
          <a:bodyPr/>
          <a:lstStyle>
            <a:lvl1pPr marL="0" indent="0">
              <a:buNone/>
              <a:tabLst/>
              <a:defRPr/>
            </a:lvl1pPr>
            <a:lvl2pPr marL="346075" indent="-173038">
              <a:buFont typeface="Arial" charset="0"/>
              <a:buChar char="•"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0" name="Picture 2" descr="Reynolds American">
            <a:extLst>
              <a:ext uri="{FF2B5EF4-FFF2-40B4-BE49-F238E27FC236}">
                <a16:creationId xmlns:a16="http://schemas.microsoft.com/office/drawing/2014/main" id="{4F48AD13-8F8A-43D3-80D4-DBB863B81C8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9963" y="138025"/>
            <a:ext cx="1026968" cy="5134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59977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5071" y="1881809"/>
            <a:ext cx="8224104" cy="270289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35B171-50E3-2D49-9067-C9D2D5BD95F7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15069" y="1267809"/>
            <a:ext cx="8224106" cy="369332"/>
          </a:xfrm>
        </p:spPr>
        <p:txBody>
          <a:bodyPr wrap="square">
            <a:spAutoFit/>
          </a:bodyPr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  <a:lvl2pPr marL="173037" indent="0">
              <a:buNone/>
              <a:defRPr/>
            </a:lvl2pPr>
            <a:lvl3pPr marL="346075" indent="0">
              <a:buNone/>
              <a:defRPr/>
            </a:lvl3pPr>
            <a:lvl4pPr marL="519113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2" descr="Reynolds American">
            <a:extLst>
              <a:ext uri="{FF2B5EF4-FFF2-40B4-BE49-F238E27FC236}">
                <a16:creationId xmlns:a16="http://schemas.microsoft.com/office/drawing/2014/main" id="{A3363A73-AFBB-4A49-88BF-360A5658FAA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9963" y="138025"/>
            <a:ext cx="1026968" cy="5134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900137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35B171-50E3-2D49-9067-C9D2D5BD95F7}" type="slidenum">
              <a:rPr lang="en-US" smtClean="0"/>
              <a:t>‹#›</a:t>
            </a:fld>
            <a:endParaRPr lang="en-US"/>
          </a:p>
        </p:txBody>
      </p:sp>
      <p:pic>
        <p:nvPicPr>
          <p:cNvPr id="5" name="Picture 2" descr="Reynolds American">
            <a:extLst>
              <a:ext uri="{FF2B5EF4-FFF2-40B4-BE49-F238E27FC236}">
                <a16:creationId xmlns:a16="http://schemas.microsoft.com/office/drawing/2014/main" id="{9B2DD8EA-059D-4243-8E55-7241B2742E0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9963" y="138025"/>
            <a:ext cx="1026968" cy="5134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350673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5069" y="1657761"/>
            <a:ext cx="4010024" cy="29269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657761"/>
            <a:ext cx="4010024" cy="29269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35B171-50E3-2D49-9067-C9D2D5BD95F7}" type="slidenum">
              <a:rPr lang="en-US" smtClean="0"/>
              <a:t>‹#›</a:t>
            </a:fld>
            <a:endParaRPr lang="en-US"/>
          </a:p>
        </p:txBody>
      </p:sp>
      <p:pic>
        <p:nvPicPr>
          <p:cNvPr id="8194" name="Picture 2" descr="Reynolds American">
            <a:extLst>
              <a:ext uri="{FF2B5EF4-FFF2-40B4-BE49-F238E27FC236}">
                <a16:creationId xmlns:a16="http://schemas.microsoft.com/office/drawing/2014/main" id="{599E8AA2-F3E1-4D33-83EB-DA46AD03428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29657" y="194652"/>
            <a:ext cx="1007233" cy="5036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77184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jp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9144000" cy="51435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6209" b="37925"/>
          <a:stretch/>
        </p:blipFill>
        <p:spPr>
          <a:xfrm>
            <a:off x="8343900" y="4679950"/>
            <a:ext cx="800100" cy="46355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15069" y="809947"/>
            <a:ext cx="8224105" cy="424732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5071" y="1655319"/>
            <a:ext cx="8224104" cy="29293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49974" y="4821306"/>
            <a:ext cx="409324" cy="215444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9835B171-50E3-2D49-9067-C9D2D5BD95F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203CFAF-CE88-D649-8148-F796F5DAB431}"/>
              </a:ext>
            </a:extLst>
          </p:cNvPr>
          <p:cNvPicPr>
            <a:picLocks noChangeAspect="1"/>
          </p:cNvPicPr>
          <p:nvPr userDrawn="1"/>
        </p:nvPicPr>
        <p:blipFill>
          <a:blip r:embed="rId27"/>
          <a:stretch>
            <a:fillRect/>
          </a:stretch>
        </p:blipFill>
        <p:spPr>
          <a:xfrm>
            <a:off x="294390" y="284357"/>
            <a:ext cx="2875803" cy="28758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4AB210C7-6FF6-304A-A26A-1CBE3975D0AB}"/>
              </a:ext>
            </a:extLst>
          </p:cNvPr>
          <p:cNvSpPr txBox="1"/>
          <p:nvPr userDrawn="1"/>
        </p:nvSpPr>
        <p:spPr>
          <a:xfrm>
            <a:off x="415069" y="4836695"/>
            <a:ext cx="2683566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b="0" i="0" u="none" strike="noStrike" kern="120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TEKsystems Global Services, LLC © ALL RIGHTS RESERVED. </a:t>
            </a:r>
            <a:endParaRPr lang="en-US" sz="100">
              <a:solidFill>
                <a:schemeClr val="bg1">
                  <a:lumMod val="50000"/>
                </a:schemeClr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7326586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2" r:id="rId2"/>
    <p:sldLayoutId id="2147483673" r:id="rId3"/>
    <p:sldLayoutId id="2147483675" r:id="rId4"/>
    <p:sldLayoutId id="2147483676" r:id="rId5"/>
    <p:sldLayoutId id="2147483685" r:id="rId6"/>
    <p:sldLayoutId id="2147483674" r:id="rId7"/>
    <p:sldLayoutId id="2147483662" r:id="rId8"/>
    <p:sldLayoutId id="2147483664" r:id="rId9"/>
    <p:sldLayoutId id="2147483684" r:id="rId10"/>
    <p:sldLayoutId id="2147483682" r:id="rId11"/>
    <p:sldLayoutId id="2147483683" r:id="rId12"/>
    <p:sldLayoutId id="2147483681" r:id="rId13"/>
    <p:sldLayoutId id="2147483688" r:id="rId14"/>
    <p:sldLayoutId id="2147483689" r:id="rId15"/>
    <p:sldLayoutId id="2147483690" r:id="rId16"/>
    <p:sldLayoutId id="2147483692" r:id="rId17"/>
    <p:sldLayoutId id="2147483667" r:id="rId18"/>
    <p:sldLayoutId id="2147483750" r:id="rId19"/>
    <p:sldLayoutId id="2147483753" r:id="rId20"/>
    <p:sldLayoutId id="2147483772" r:id="rId21"/>
    <p:sldLayoutId id="2147483805" r:id="rId22"/>
    <p:sldLayoutId id="2147483806" r:id="rId23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17475" indent="-117475" algn="l" defTabSz="685800" rtl="0" eaLnBrk="1" latinLnBrk="0" hangingPunct="1">
        <a:lnSpc>
          <a:spcPct val="100000"/>
        </a:lnSpc>
        <a:spcBef>
          <a:spcPts val="750"/>
        </a:spcBef>
        <a:buClr>
          <a:schemeClr val="accent2"/>
        </a:buClr>
        <a:buFont typeface="Arial" panose="020B0604020202020204" pitchFamily="34" charset="0"/>
        <a:buChar char="•"/>
        <a:tabLst/>
        <a:defRPr sz="1400" kern="1200">
          <a:solidFill>
            <a:schemeClr val="bg2"/>
          </a:solidFill>
          <a:latin typeface="+mn-lt"/>
          <a:ea typeface="+mn-ea"/>
          <a:cs typeface="+mn-cs"/>
        </a:defRPr>
      </a:lvl1pPr>
      <a:lvl2pPr marL="346075" indent="-173038" algn="l" defTabSz="685800" rtl="0" eaLnBrk="1" latinLnBrk="0" hangingPunct="1">
        <a:lnSpc>
          <a:spcPct val="100000"/>
        </a:lnSpc>
        <a:spcBef>
          <a:spcPts val="800"/>
        </a:spcBef>
        <a:buClr>
          <a:schemeClr val="accent2"/>
        </a:buClr>
        <a:buFont typeface=".AppleSystemUIFont" charset="0"/>
        <a:buChar char="–"/>
        <a:tabLst/>
        <a:defRPr sz="1400" kern="1200">
          <a:solidFill>
            <a:schemeClr val="bg2"/>
          </a:solidFill>
          <a:latin typeface="+mn-lt"/>
          <a:ea typeface="+mn-ea"/>
          <a:cs typeface="+mn-cs"/>
        </a:defRPr>
      </a:lvl2pPr>
      <a:lvl3pPr marL="514350" indent="-168275" algn="l" defTabSz="685800" rtl="0" eaLnBrk="1" latinLnBrk="0" hangingPunct="1">
        <a:lnSpc>
          <a:spcPct val="100000"/>
        </a:lnSpc>
        <a:spcBef>
          <a:spcPts val="375"/>
        </a:spcBef>
        <a:buClr>
          <a:schemeClr val="accent2"/>
        </a:buClr>
        <a:buFont typeface=".AppleSystemUIFont" charset="0"/>
        <a:buChar char="–"/>
        <a:tabLst/>
        <a:defRPr sz="1400" kern="1200">
          <a:solidFill>
            <a:schemeClr val="bg2"/>
          </a:solidFill>
          <a:latin typeface="+mn-lt"/>
          <a:ea typeface="+mn-ea"/>
          <a:cs typeface="+mn-cs"/>
        </a:defRPr>
      </a:lvl3pPr>
      <a:lvl4pPr marL="690563" indent="-171450" algn="l" defTabSz="685800" rtl="0" eaLnBrk="1" latinLnBrk="0" hangingPunct="1">
        <a:lnSpc>
          <a:spcPct val="100000"/>
        </a:lnSpc>
        <a:spcBef>
          <a:spcPts val="375"/>
        </a:spcBef>
        <a:buClr>
          <a:schemeClr val="accent2"/>
        </a:buClr>
        <a:buFont typeface=".AppleSystemUIFont" charset="0"/>
        <a:buChar char="–"/>
        <a:tabLst/>
        <a:defRPr sz="1400" kern="1200">
          <a:solidFill>
            <a:schemeClr val="bg2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100000"/>
        </a:lnSpc>
        <a:spcBef>
          <a:spcPts val="375"/>
        </a:spcBef>
        <a:buClr>
          <a:schemeClr val="accent2"/>
        </a:buClr>
        <a:buFont typeface="Arial" panose="020B0604020202020204" pitchFamily="34" charset="0"/>
        <a:buChar char="•"/>
        <a:defRPr sz="1400" kern="1200">
          <a:solidFill>
            <a:schemeClr val="bg2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18">
          <p15:clr>
            <a:srgbClr val="F26B43"/>
          </p15:clr>
        </p15:guide>
        <p15:guide id="2" pos="5442">
          <p15:clr>
            <a:srgbClr val="F26B43"/>
          </p15:clr>
        </p15:guide>
        <p15:guide id="3" orient="horz" pos="28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1.x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191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191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4C7BD802-253D-43F5-AD12-7B3D3C74BCA8}"/>
              </a:ext>
            </a:extLst>
          </p:cNvPr>
          <p:cNvSpPr/>
          <p:nvPr/>
        </p:nvSpPr>
        <p:spPr>
          <a:xfrm>
            <a:off x="104965" y="1083950"/>
            <a:ext cx="7136663" cy="33239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0266" lvl="3" indent="-214313" defTabSz="342860">
              <a:spcBef>
                <a:spcPts val="450"/>
              </a:spcBef>
              <a:buClr>
                <a:srgbClr val="F8971D"/>
              </a:buClr>
              <a:buSzPct val="100000"/>
              <a:buFont typeface="Courier New" panose="02070309020205020404" pitchFamily="49" charset="0"/>
              <a:buChar char="o"/>
              <a:tabLst>
                <a:tab pos="171450" algn="l"/>
              </a:tabLst>
              <a:defRPr/>
            </a:pPr>
            <a:r>
              <a:rPr lang="en-US" sz="1000" dirty="0">
                <a:solidFill>
                  <a:schemeClr val="bg1">
                    <a:lumMod val="50000"/>
                  </a:schemeClr>
                </a:solidFill>
                <a:effectLst/>
                <a:ea typeface="Times New Roman" panose="02020603050405020304" pitchFamily="18" charset="0"/>
                <a:cs typeface="Symbol" panose="05050102010706020507" pitchFamily="18" charset="2"/>
              </a:rPr>
              <a:t>Having 6 months of Experience in one of the Software testing tools which includes selenium(selenium framework, page object models).</a:t>
            </a:r>
          </a:p>
          <a:p>
            <a:pPr marL="220266" lvl="3" indent="-214313" defTabSz="342860">
              <a:spcBef>
                <a:spcPts val="450"/>
              </a:spcBef>
              <a:buClr>
                <a:srgbClr val="F8971D"/>
              </a:buClr>
              <a:buSzPct val="100000"/>
              <a:buFont typeface="Courier New" panose="02070309020205020404" pitchFamily="49" charset="0"/>
              <a:buChar char="o"/>
              <a:tabLst>
                <a:tab pos="171450" algn="l"/>
              </a:tabLst>
              <a:defRPr/>
            </a:pPr>
            <a:r>
              <a:rPr lang="en-IN" sz="1000" dirty="0">
                <a:solidFill>
                  <a:schemeClr val="bg1">
                    <a:lumMod val="50000"/>
                  </a:schemeClr>
                </a:solidFill>
                <a:effectLst/>
                <a:ea typeface="Times New Roman" panose="02020603050405020304" pitchFamily="18" charset="0"/>
                <a:cs typeface="Symbol" panose="05050102010706020507" pitchFamily="18" charset="2"/>
              </a:rPr>
              <a:t>Experienced in Cypress(Assertions and Validations, Handling different Scenarios, BDD with Cucumber).</a:t>
            </a:r>
          </a:p>
          <a:p>
            <a:pPr marL="220266" lvl="3" indent="-214313" defTabSz="342860">
              <a:spcBef>
                <a:spcPts val="450"/>
              </a:spcBef>
              <a:buClr>
                <a:srgbClr val="F8971D"/>
              </a:buClr>
              <a:buSzPct val="100000"/>
              <a:buFont typeface="Courier New" panose="02070309020205020404" pitchFamily="49" charset="0"/>
              <a:buChar char="o"/>
              <a:tabLst>
                <a:tab pos="171450" algn="l"/>
              </a:tabLst>
              <a:defRPr/>
            </a:pPr>
            <a:r>
              <a:rPr lang="en-IN" sz="1000" dirty="0">
                <a:solidFill>
                  <a:schemeClr val="bg1">
                    <a:lumMod val="50000"/>
                  </a:schemeClr>
                </a:solidFill>
                <a:effectLst/>
                <a:ea typeface="Times New Roman" panose="02020603050405020304" pitchFamily="18" charset="0"/>
                <a:cs typeface="Symbol" panose="05050102010706020507" pitchFamily="18" charset="2"/>
              </a:rPr>
              <a:t>Having the good experience in Api automation(Authentication &amp; Authorization, Request Specification, Serialization &amp; Deserialization) using the platforms postman and visual studio.</a:t>
            </a:r>
          </a:p>
          <a:p>
            <a:pPr marL="220266" lvl="3" indent="-214313" defTabSz="342860">
              <a:spcBef>
                <a:spcPts val="450"/>
              </a:spcBef>
              <a:buClr>
                <a:srgbClr val="F8971D"/>
              </a:buClr>
              <a:buSzPct val="100000"/>
              <a:buFont typeface="Courier New" panose="02070309020205020404" pitchFamily="49" charset="0"/>
              <a:buChar char="o"/>
              <a:tabLst>
                <a:tab pos="171450" algn="l"/>
              </a:tabLst>
              <a:defRPr/>
            </a:pPr>
            <a:r>
              <a:rPr lang="en-IN" sz="1000" dirty="0">
                <a:solidFill>
                  <a:schemeClr val="bg1">
                    <a:lumMod val="50000"/>
                  </a:schemeClr>
                </a:solidFill>
                <a:effectLst/>
                <a:ea typeface="Times New Roman" panose="02020603050405020304" pitchFamily="18" charset="0"/>
                <a:cs typeface="Symbol" panose="05050102010706020507" pitchFamily="18" charset="2"/>
              </a:rPr>
              <a:t>Worked on </a:t>
            </a:r>
            <a:r>
              <a:rPr lang="en-IN" sz="1000" dirty="0">
                <a:solidFill>
                  <a:schemeClr val="bg1">
                    <a:lumMod val="50000"/>
                  </a:schemeClr>
                </a:solidFill>
                <a:ea typeface="Times New Roman" panose="02020603050405020304" pitchFamily="18" charset="0"/>
                <a:cs typeface="Symbol" panose="05050102010706020507" pitchFamily="18" charset="2"/>
              </a:rPr>
              <a:t>S</a:t>
            </a:r>
            <a:r>
              <a:rPr lang="en-IN" sz="1000" dirty="0">
                <a:solidFill>
                  <a:schemeClr val="bg1">
                    <a:lumMod val="50000"/>
                  </a:schemeClr>
                </a:solidFill>
                <a:effectLst/>
                <a:ea typeface="Times New Roman" panose="02020603050405020304" pitchFamily="18" charset="0"/>
                <a:cs typeface="Symbol" panose="05050102010706020507" pitchFamily="18" charset="2"/>
              </a:rPr>
              <a:t>oapUI(Soap Services, Rest Services</a:t>
            </a:r>
            <a:r>
              <a:rPr lang="en-IN" sz="1000" dirty="0">
                <a:solidFill>
                  <a:schemeClr val="bg1">
                    <a:lumMod val="50000"/>
                  </a:schemeClr>
                </a:solidFill>
                <a:ea typeface="Times New Roman" panose="02020603050405020304" pitchFamily="18" charset="0"/>
                <a:cs typeface="Symbol" panose="05050102010706020507" pitchFamily="18" charset="2"/>
              </a:rPr>
              <a:t> , </a:t>
            </a:r>
            <a:r>
              <a:rPr lang="en-IN" sz="1000" dirty="0">
                <a:solidFill>
                  <a:schemeClr val="bg1">
                    <a:lumMod val="50000"/>
                  </a:schemeClr>
                </a:solidFill>
                <a:effectLst/>
                <a:ea typeface="Times New Roman" panose="02020603050405020304" pitchFamily="18" charset="0"/>
                <a:cs typeface="Symbol" panose="05050102010706020507" pitchFamily="18" charset="2"/>
              </a:rPr>
              <a:t>Test Cases and Test Suites, Assertions &amp; Validations, Groovy Scripting, ) . </a:t>
            </a:r>
          </a:p>
          <a:p>
            <a:pPr marL="220266" lvl="3" indent="-214313" defTabSz="342860">
              <a:spcBef>
                <a:spcPts val="450"/>
              </a:spcBef>
              <a:buClr>
                <a:srgbClr val="F8971D"/>
              </a:buClr>
              <a:buSzPct val="100000"/>
              <a:buFont typeface="Courier New" panose="02070309020205020404" pitchFamily="49" charset="0"/>
              <a:buChar char="o"/>
              <a:tabLst>
                <a:tab pos="171450" algn="l"/>
              </a:tabLst>
              <a:defRPr/>
            </a:pPr>
            <a:r>
              <a:rPr lang="en-US" sz="1000" dirty="0">
                <a:solidFill>
                  <a:schemeClr val="bg1">
                    <a:lumMod val="50000"/>
                  </a:schemeClr>
                </a:solidFill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H</a:t>
            </a:r>
            <a:r>
              <a:rPr lang="en-IN" sz="1000" dirty="0">
                <a:solidFill>
                  <a:schemeClr val="bg1">
                    <a:lumMod val="50000"/>
                  </a:schemeClr>
                </a:solidFill>
                <a:effectLst/>
                <a:ea typeface="Times New Roman" panose="02020603050405020304" pitchFamily="18" charset="0"/>
                <a:cs typeface="Symbol" panose="05050102010706020507" pitchFamily="18" charset="2"/>
              </a:rPr>
              <a:t>aving Good working experience in writing complex SQL Queries. </a:t>
            </a:r>
            <a:endParaRPr lang="en-US" sz="1000" dirty="0">
              <a:solidFill>
                <a:schemeClr val="bg1">
                  <a:lumMod val="50000"/>
                </a:schemeClr>
              </a:solidFill>
              <a:cs typeface="Arial" panose="020B0604020202020204" pitchFamily="34" charset="0"/>
            </a:endParaRPr>
          </a:p>
          <a:p>
            <a:pPr marL="220266" lvl="3" indent="-214313" defTabSz="342860">
              <a:spcBef>
                <a:spcPts val="450"/>
              </a:spcBef>
              <a:buClr>
                <a:srgbClr val="F8971D"/>
              </a:buClr>
              <a:buSzPct val="100000"/>
              <a:buFont typeface="Courier New" panose="02070309020205020404" pitchFamily="49" charset="0"/>
              <a:buChar char="o"/>
              <a:tabLst>
                <a:tab pos="171450" algn="l"/>
              </a:tabLst>
              <a:defRPr/>
            </a:pPr>
            <a:r>
              <a:rPr lang="en-US" sz="1000" dirty="0">
                <a:solidFill>
                  <a:schemeClr val="bg1">
                    <a:lumMod val="50000"/>
                  </a:schemeClr>
                </a:solidFill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H</a:t>
            </a:r>
            <a:r>
              <a:rPr lang="en-IN" sz="1000" dirty="0">
                <a:solidFill>
                  <a:schemeClr val="bg1">
                    <a:lumMod val="50000"/>
                  </a:schemeClr>
                </a:solidFill>
                <a:effectLst/>
                <a:ea typeface="Times New Roman" panose="02020603050405020304" pitchFamily="18" charset="0"/>
                <a:cs typeface="Symbol" panose="05050102010706020507" pitchFamily="18" charset="2"/>
              </a:rPr>
              <a:t>aving knowledge </a:t>
            </a:r>
            <a:r>
              <a:rPr lang="en-IN" sz="1000" dirty="0">
                <a:solidFill>
                  <a:schemeClr val="bg1">
                    <a:lumMod val="50000"/>
                  </a:schemeClr>
                </a:solidFill>
                <a:ea typeface="Times New Roman" panose="02020603050405020304" pitchFamily="18" charset="0"/>
                <a:cs typeface="Symbol" panose="05050102010706020507" pitchFamily="18" charset="2"/>
              </a:rPr>
              <a:t>on Joins and Subqueries</a:t>
            </a:r>
            <a:r>
              <a:rPr lang="en-IN" sz="1000" dirty="0">
                <a:solidFill>
                  <a:schemeClr val="bg1">
                    <a:lumMod val="50000"/>
                  </a:schemeClr>
                </a:solidFill>
                <a:effectLst/>
                <a:ea typeface="Times New Roman" panose="02020603050405020304" pitchFamily="18" charset="0"/>
                <a:cs typeface="Symbol" panose="05050102010706020507" pitchFamily="18" charset="2"/>
              </a:rPr>
              <a:t> and Set Operators. </a:t>
            </a:r>
            <a:endParaRPr lang="en-US" sz="1000" dirty="0">
              <a:solidFill>
                <a:schemeClr val="bg1">
                  <a:lumMod val="50000"/>
                </a:schemeClr>
              </a:solidFill>
              <a:cs typeface="Arial" panose="020B0604020202020204" pitchFamily="34" charset="0"/>
            </a:endParaRPr>
          </a:p>
          <a:p>
            <a:pPr marL="220266" lvl="3" indent="-214313" defTabSz="342860">
              <a:spcBef>
                <a:spcPts val="450"/>
              </a:spcBef>
              <a:buClr>
                <a:srgbClr val="F8971D"/>
              </a:buClr>
              <a:buSzPct val="100000"/>
              <a:buFont typeface="Courier New" panose="02070309020205020404" pitchFamily="49" charset="0"/>
              <a:buChar char="o"/>
              <a:tabLst>
                <a:tab pos="171450" algn="l"/>
              </a:tabLst>
              <a:defRPr/>
            </a:pPr>
            <a:r>
              <a:rPr lang="en-US" sz="1000" dirty="0">
                <a:solidFill>
                  <a:schemeClr val="bg1">
                    <a:lumMod val="50000"/>
                  </a:schemeClr>
                </a:solidFill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G</a:t>
            </a:r>
            <a:r>
              <a:rPr lang="en-IN" sz="1000" dirty="0" err="1">
                <a:solidFill>
                  <a:schemeClr val="bg1">
                    <a:lumMod val="50000"/>
                  </a:schemeClr>
                </a:solidFill>
                <a:effectLst/>
                <a:ea typeface="Times New Roman" panose="02020603050405020304" pitchFamily="18" charset="0"/>
                <a:cs typeface="Symbol" panose="05050102010706020507" pitchFamily="18" charset="2"/>
              </a:rPr>
              <a:t>ood</a:t>
            </a:r>
            <a:r>
              <a:rPr lang="en-IN" sz="1000" dirty="0">
                <a:solidFill>
                  <a:schemeClr val="bg1">
                    <a:lumMod val="50000"/>
                  </a:schemeClr>
                </a:solidFill>
                <a:effectLst/>
                <a:ea typeface="Times New Roman" panose="02020603050405020304" pitchFamily="18" charset="0"/>
                <a:cs typeface="Symbol" panose="05050102010706020507" pitchFamily="18" charset="2"/>
              </a:rPr>
              <a:t> hands on C and Advanced Java Concepts. </a:t>
            </a:r>
            <a:endParaRPr lang="en-US" sz="1000" dirty="0">
              <a:solidFill>
                <a:schemeClr val="bg1">
                  <a:lumMod val="50000"/>
                </a:schemeClr>
              </a:solidFill>
              <a:cs typeface="Arial" panose="020B0604020202020204" pitchFamily="34" charset="0"/>
            </a:endParaRPr>
          </a:p>
          <a:p>
            <a:pPr marL="220266" lvl="3" indent="-214313" defTabSz="342860">
              <a:spcBef>
                <a:spcPts val="450"/>
              </a:spcBef>
              <a:buClr>
                <a:srgbClr val="F8971D"/>
              </a:buClr>
              <a:buSzPct val="100000"/>
              <a:buFont typeface="Courier New" panose="02070309020205020404" pitchFamily="49" charset="0"/>
              <a:buChar char="o"/>
              <a:tabLst>
                <a:tab pos="171450" algn="l"/>
              </a:tabLst>
              <a:defRPr/>
            </a:pPr>
            <a:r>
              <a:rPr lang="en-US" sz="1000" dirty="0">
                <a:solidFill>
                  <a:schemeClr val="bg1">
                    <a:lumMod val="50000"/>
                  </a:schemeClr>
                </a:solidFill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H</a:t>
            </a:r>
            <a:r>
              <a:rPr lang="en-IN" sz="1000" dirty="0" err="1">
                <a:solidFill>
                  <a:schemeClr val="bg1">
                    <a:lumMod val="50000"/>
                  </a:schemeClr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ave</a:t>
            </a:r>
            <a:r>
              <a:rPr lang="en-IN" sz="1000" dirty="0">
                <a:solidFill>
                  <a:schemeClr val="bg1">
                    <a:lumMod val="50000"/>
                  </a:schemeClr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 basic Idea about python and java script concepts</a:t>
            </a:r>
            <a:r>
              <a:rPr lang="en-IN" sz="1000" dirty="0">
                <a:solidFill>
                  <a:schemeClr val="bg1">
                    <a:lumMod val="50000"/>
                  </a:schemeClr>
                </a:solidFill>
                <a:effectLst/>
                <a:ea typeface="Times New Roman" panose="02020603050405020304" pitchFamily="18" charset="0"/>
                <a:cs typeface="Symbol" panose="05050102010706020507" pitchFamily="18" charset="2"/>
              </a:rPr>
              <a:t>. </a:t>
            </a:r>
            <a:endParaRPr lang="en-US" sz="1000" dirty="0">
              <a:solidFill>
                <a:schemeClr val="bg1">
                  <a:lumMod val="50000"/>
                </a:schemeClr>
              </a:solidFill>
              <a:cs typeface="Arial" panose="020B0604020202020204" pitchFamily="34" charset="0"/>
            </a:endParaRPr>
          </a:p>
          <a:p>
            <a:pPr marL="220266" lvl="3" indent="-214313" defTabSz="342860">
              <a:spcBef>
                <a:spcPts val="450"/>
              </a:spcBef>
              <a:buClr>
                <a:srgbClr val="F8971D"/>
              </a:buClr>
              <a:buSzPct val="100000"/>
              <a:buFont typeface="Courier New" panose="02070309020205020404" pitchFamily="49" charset="0"/>
              <a:buChar char="o"/>
              <a:tabLst>
                <a:tab pos="171450" algn="l"/>
              </a:tabLst>
              <a:defRPr/>
            </a:pPr>
            <a:r>
              <a:rPr lang="en-IN" sz="1000" dirty="0">
                <a:solidFill>
                  <a:schemeClr val="bg1">
                    <a:lumMod val="50000"/>
                  </a:schemeClr>
                </a:solidFill>
                <a:effectLst/>
                <a:ea typeface="Times New Roman" panose="02020603050405020304" pitchFamily="18" charset="0"/>
                <a:cs typeface="Symbol" panose="05050102010706020507" pitchFamily="18" charset="2"/>
              </a:rPr>
              <a:t>Having basic knowledge on </a:t>
            </a:r>
            <a:r>
              <a:rPr lang="en-IN" sz="1000" dirty="0" err="1">
                <a:solidFill>
                  <a:schemeClr val="bg1">
                    <a:lumMod val="50000"/>
                  </a:schemeClr>
                </a:solidFill>
                <a:effectLst/>
                <a:ea typeface="Times New Roman" panose="02020603050405020304" pitchFamily="18" charset="0"/>
                <a:cs typeface="Symbol" panose="05050102010706020507" pitchFamily="18" charset="2"/>
              </a:rPr>
              <a:t>AngularJs</a:t>
            </a:r>
            <a:r>
              <a:rPr lang="en-IN" sz="1000" dirty="0">
                <a:solidFill>
                  <a:schemeClr val="bg1">
                    <a:lumMod val="50000"/>
                  </a:schemeClr>
                </a:solidFill>
                <a:effectLst/>
                <a:ea typeface="Times New Roman" panose="02020603050405020304" pitchFamily="18" charset="0"/>
                <a:cs typeface="Symbol" panose="05050102010706020507" pitchFamily="18" charset="2"/>
              </a:rPr>
              <a:t>, </a:t>
            </a:r>
            <a:r>
              <a:rPr lang="en-IN" sz="1000" dirty="0" err="1">
                <a:solidFill>
                  <a:schemeClr val="bg1">
                    <a:lumMod val="50000"/>
                  </a:schemeClr>
                </a:solidFill>
                <a:effectLst/>
                <a:ea typeface="Times New Roman" panose="02020603050405020304" pitchFamily="18" charset="0"/>
                <a:cs typeface="Symbol" panose="05050102010706020507" pitchFamily="18" charset="2"/>
              </a:rPr>
              <a:t>Csharp</a:t>
            </a:r>
            <a:r>
              <a:rPr lang="en-IN" sz="1000" dirty="0">
                <a:solidFill>
                  <a:schemeClr val="bg1">
                    <a:lumMod val="50000"/>
                  </a:schemeClr>
                </a:solidFill>
                <a:effectLst/>
                <a:ea typeface="Times New Roman" panose="02020603050405020304" pitchFamily="18" charset="0"/>
                <a:cs typeface="Symbol" panose="05050102010706020507" pitchFamily="18" charset="2"/>
              </a:rPr>
              <a:t> and </a:t>
            </a:r>
            <a:r>
              <a:rPr lang="en-IN" sz="1000" dirty="0" err="1">
                <a:solidFill>
                  <a:schemeClr val="bg1">
                    <a:lumMod val="50000"/>
                  </a:schemeClr>
                </a:solidFill>
                <a:effectLst/>
                <a:ea typeface="Times New Roman" panose="02020603050405020304" pitchFamily="18" charset="0"/>
                <a:cs typeface="Symbol" panose="05050102010706020507" pitchFamily="18" charset="2"/>
              </a:rPr>
              <a:t>DotNet</a:t>
            </a:r>
            <a:r>
              <a:rPr lang="en-IN" sz="1000" dirty="0">
                <a:solidFill>
                  <a:schemeClr val="bg1">
                    <a:lumMod val="50000"/>
                  </a:schemeClr>
                </a:solidFill>
                <a:effectLst/>
                <a:ea typeface="Times New Roman" panose="02020603050405020304" pitchFamily="18" charset="0"/>
                <a:cs typeface="Symbol" panose="05050102010706020507" pitchFamily="18" charset="2"/>
              </a:rPr>
              <a:t> Concepts . </a:t>
            </a:r>
          </a:p>
          <a:p>
            <a:pPr marL="220266" lvl="3" indent="-214313" defTabSz="342860">
              <a:spcBef>
                <a:spcPts val="450"/>
              </a:spcBef>
              <a:buClr>
                <a:srgbClr val="F8971D"/>
              </a:buClr>
              <a:buSzPct val="100000"/>
              <a:buFont typeface="Courier New" panose="02070309020205020404" pitchFamily="49" charset="0"/>
              <a:buChar char="o"/>
              <a:tabLst>
                <a:tab pos="171450" algn="l"/>
              </a:tabLst>
              <a:defRPr/>
            </a:pPr>
            <a:r>
              <a:rPr lang="en-US" sz="1000" dirty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H</a:t>
            </a:r>
            <a:r>
              <a:rPr lang="en-IN" sz="1000" dirty="0" err="1">
                <a:solidFill>
                  <a:schemeClr val="bg1">
                    <a:lumMod val="50000"/>
                  </a:schemeClr>
                </a:solidFill>
                <a:effectLst/>
                <a:ea typeface="Times New Roman" panose="02020603050405020304" pitchFamily="18" charset="0"/>
                <a:cs typeface="Symbol" panose="05050102010706020507" pitchFamily="18" charset="2"/>
              </a:rPr>
              <a:t>aving</a:t>
            </a:r>
            <a:r>
              <a:rPr lang="en-IN" sz="1000" dirty="0">
                <a:solidFill>
                  <a:schemeClr val="bg1">
                    <a:lumMod val="50000"/>
                  </a:schemeClr>
                </a:solidFill>
                <a:effectLst/>
                <a:ea typeface="Times New Roman" panose="02020603050405020304" pitchFamily="18" charset="0"/>
                <a:cs typeface="Symbol" panose="05050102010706020507" pitchFamily="18" charset="2"/>
              </a:rPr>
              <a:t> Knowledge on AWS Services, Git and </a:t>
            </a:r>
            <a:r>
              <a:rPr lang="en-IN" sz="1000" dirty="0">
                <a:solidFill>
                  <a:schemeClr val="bg1">
                    <a:lumMod val="50000"/>
                  </a:schemeClr>
                </a:solidFill>
                <a:ea typeface="Times New Roman" panose="02020603050405020304" pitchFamily="18" charset="0"/>
                <a:cs typeface="Symbol" panose="05050102010706020507" pitchFamily="18" charset="2"/>
              </a:rPr>
              <a:t>L</a:t>
            </a:r>
            <a:r>
              <a:rPr lang="en-IN" sz="1000" dirty="0">
                <a:solidFill>
                  <a:schemeClr val="bg1">
                    <a:lumMod val="50000"/>
                  </a:schemeClr>
                </a:solidFill>
                <a:effectLst/>
                <a:ea typeface="Times New Roman" panose="02020603050405020304" pitchFamily="18" charset="0"/>
                <a:cs typeface="Symbol" panose="05050102010706020507" pitchFamily="18" charset="2"/>
              </a:rPr>
              <a:t>inux commands.</a:t>
            </a:r>
          </a:p>
          <a:p>
            <a:pPr marL="220266" lvl="3" indent="-214313" defTabSz="342860">
              <a:spcBef>
                <a:spcPts val="450"/>
              </a:spcBef>
              <a:buClr>
                <a:srgbClr val="F8971D"/>
              </a:buClr>
              <a:buSzPct val="100000"/>
              <a:buFont typeface="Courier New" panose="02070309020205020404" pitchFamily="49" charset="0"/>
              <a:buChar char="o"/>
              <a:tabLst>
                <a:tab pos="171450" algn="l"/>
              </a:tabLst>
              <a:defRPr/>
            </a:pPr>
            <a:r>
              <a:rPr lang="en-IN" sz="1000" dirty="0">
                <a:solidFill>
                  <a:schemeClr val="bg1">
                    <a:lumMod val="50000"/>
                  </a:schemeClr>
                </a:solidFill>
                <a:ea typeface="Times New Roman" panose="02020603050405020304" pitchFamily="18" charset="0"/>
                <a:cs typeface="Symbol" panose="05050102010706020507" pitchFamily="18" charset="2"/>
              </a:rPr>
              <a:t>Having an Basic Idea about Docker.</a:t>
            </a:r>
            <a:endParaRPr lang="en-IN" sz="1000" dirty="0">
              <a:solidFill>
                <a:schemeClr val="bg1">
                  <a:lumMod val="50000"/>
                </a:schemeClr>
              </a:solidFill>
              <a:effectLst/>
              <a:ea typeface="Times New Roman" panose="02020603050405020304" pitchFamily="18" charset="0"/>
              <a:cs typeface="Symbol" panose="05050102010706020507" pitchFamily="18" charset="2"/>
            </a:endParaRPr>
          </a:p>
          <a:p>
            <a:pPr marL="220266" lvl="3" indent="-214313" defTabSz="342860">
              <a:spcBef>
                <a:spcPts val="450"/>
              </a:spcBef>
              <a:buClr>
                <a:srgbClr val="F8971D"/>
              </a:buClr>
              <a:buSzPct val="100000"/>
              <a:buFont typeface="Courier New" panose="02070309020205020404" pitchFamily="49" charset="0"/>
              <a:buChar char="o"/>
              <a:tabLst>
                <a:tab pos="171450" algn="l"/>
              </a:tabLst>
              <a:defRPr/>
            </a:pPr>
            <a:r>
              <a:rPr lang="en-IN" sz="1000" dirty="0">
                <a:solidFill>
                  <a:schemeClr val="bg1">
                    <a:lumMod val="50000"/>
                  </a:schemeClr>
                </a:solidFill>
                <a:ea typeface="Times New Roman" panose="02020603050405020304" pitchFamily="18" charset="0"/>
                <a:cs typeface="Symbol" panose="05050102010706020507" pitchFamily="18" charset="2"/>
              </a:rPr>
              <a:t>Good </a:t>
            </a:r>
            <a:r>
              <a:rPr lang="en-IN" sz="1000" dirty="0">
                <a:solidFill>
                  <a:schemeClr val="bg1">
                    <a:lumMod val="50000"/>
                  </a:schemeClr>
                </a:solidFill>
                <a:effectLst/>
                <a:ea typeface="Times New Roman" panose="02020603050405020304" pitchFamily="18" charset="0"/>
                <a:cs typeface="Symbol" panose="05050102010706020507" pitchFamily="18" charset="2"/>
              </a:rPr>
              <a:t>communication and inter-personal skills. </a:t>
            </a:r>
            <a:endParaRPr lang="en-US" sz="1000" dirty="0">
              <a:solidFill>
                <a:schemeClr val="bg1">
                  <a:lumMod val="50000"/>
                </a:schemeClr>
              </a:solidFill>
              <a:cs typeface="Arial" panose="020B0604020202020204" pitchFamily="34" charset="0"/>
            </a:endParaRPr>
          </a:p>
          <a:p>
            <a:pPr marL="220266" lvl="3" indent="-214313" defTabSz="342860">
              <a:spcBef>
                <a:spcPts val="450"/>
              </a:spcBef>
              <a:buClr>
                <a:srgbClr val="F8971D"/>
              </a:buClr>
              <a:buSzPct val="100000"/>
              <a:buFont typeface="Courier New" panose="02070309020205020404" pitchFamily="49" charset="0"/>
              <a:buChar char="o"/>
              <a:tabLst>
                <a:tab pos="171450" algn="l"/>
              </a:tabLst>
              <a:defRPr/>
            </a:pPr>
            <a:endParaRPr lang="en-US" sz="1000" dirty="0">
              <a:solidFill>
                <a:srgbClr val="666666"/>
              </a:solidFill>
              <a:cs typeface="Arial" panose="020B0604020202020204" pitchFamily="34" charset="0"/>
            </a:endParaRPr>
          </a:p>
        </p:txBody>
      </p:sp>
      <p:sp>
        <p:nvSpPr>
          <p:cNvPr id="12" name="Slide Number Placeholder 2">
            <a:extLst>
              <a:ext uri="{FF2B5EF4-FFF2-40B4-BE49-F238E27FC236}">
                <a16:creationId xmlns:a16="http://schemas.microsoft.com/office/drawing/2014/main" id="{A36583FF-6629-4BE9-A974-9FC24CF16DDA}"/>
              </a:ext>
            </a:extLst>
          </p:cNvPr>
          <p:cNvSpPr txBox="1">
            <a:spLocks/>
          </p:cNvSpPr>
          <p:nvPr/>
        </p:nvSpPr>
        <p:spPr>
          <a:xfrm>
            <a:off x="8549974" y="4821306"/>
            <a:ext cx="409324" cy="2154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fld id="{9835B171-50E3-2D49-9067-C9D2D5BD95F7}" type="slidenum">
              <a:rPr lang="en-US" sz="800" smtClean="0">
                <a:solidFill>
                  <a:srgbClr val="FFFFFF"/>
                </a:solidFill>
                <a:latin typeface="Arial" panose="020B0604020202020204"/>
              </a:rPr>
              <a:pPr algn="r">
                <a:defRPr/>
              </a:pPr>
              <a:t>1</a:t>
            </a:fld>
            <a:endParaRPr lang="en-US" sz="8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01D1B92-B690-4F36-9072-72C6B0ED1B43}"/>
              </a:ext>
            </a:extLst>
          </p:cNvPr>
          <p:cNvSpPr txBox="1"/>
          <p:nvPr/>
        </p:nvSpPr>
        <p:spPr>
          <a:xfrm>
            <a:off x="391101" y="675974"/>
            <a:ext cx="3844568" cy="323165"/>
          </a:xfrm>
          <a:prstGeom prst="rect">
            <a:avLst/>
          </a:prstGeom>
          <a:noFill/>
        </p:spPr>
        <p:txBody>
          <a:bodyPr wrap="square" lIns="0" tIns="0" rtlCol="0">
            <a:spAutoFit/>
          </a:bodyPr>
          <a:lstStyle/>
          <a:p>
            <a:pPr marL="0" lvl="3" defTabSz="342900">
              <a:spcAft>
                <a:spcPts val="450"/>
              </a:spcAft>
            </a:pPr>
            <a:r>
              <a:rPr lang="en-US" sz="1800" b="1" dirty="0">
                <a:solidFill>
                  <a:srgbClr val="009BD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Mahammad Fardeen Baig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80C5DEF-DA20-477E-B46F-89C01C0B98EA}"/>
              </a:ext>
            </a:extLst>
          </p:cNvPr>
          <p:cNvCxnSpPr/>
          <p:nvPr/>
        </p:nvCxnSpPr>
        <p:spPr>
          <a:xfrm flipH="1">
            <a:off x="7315704" y="1412245"/>
            <a:ext cx="14866" cy="3409061"/>
          </a:xfrm>
          <a:prstGeom prst="line">
            <a:avLst/>
          </a:prstGeom>
          <a:ln w="9525" cmpd="sng">
            <a:solidFill>
              <a:schemeClr val="accent6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>
          <a:xfrm>
            <a:off x="7395296" y="1080103"/>
            <a:ext cx="1813430" cy="19690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3">
              <a:lnSpc>
                <a:spcPct val="90000"/>
              </a:lnSpc>
            </a:pPr>
            <a:r>
              <a:rPr lang="en-US" sz="1400" b="1" dirty="0">
                <a:solidFill>
                  <a:srgbClr val="0095D3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Skill Set and Tools</a:t>
            </a:r>
          </a:p>
          <a:p>
            <a:pPr>
              <a:lnSpc>
                <a:spcPct val="90000"/>
              </a:lnSpc>
            </a:pPr>
            <a:endParaRPr lang="en-US" sz="1100" dirty="0">
              <a:solidFill>
                <a:schemeClr val="bg2">
                  <a:lumMod val="50000"/>
                </a:schemeClr>
              </a:solidFill>
            </a:endParaRPr>
          </a:p>
          <a:p>
            <a:pPr>
              <a:lnSpc>
                <a:spcPct val="90000"/>
              </a:lnSpc>
            </a:pPr>
            <a:r>
              <a:rPr lang="en-US" sz="1100" b="1" dirty="0">
                <a:solidFill>
                  <a:schemeClr val="bg2">
                    <a:lumMod val="50000"/>
                  </a:schemeClr>
                </a:solidFill>
              </a:rPr>
              <a:t>Databases: </a:t>
            </a:r>
            <a:r>
              <a:rPr lang="en-US" sz="1100" dirty="0" err="1">
                <a:solidFill>
                  <a:schemeClr val="bg2">
                    <a:lumMod val="50000"/>
                  </a:schemeClr>
                </a:solidFill>
              </a:rPr>
              <a:t>Sql</a:t>
            </a:r>
            <a:endParaRPr lang="en-US" sz="1100" dirty="0">
              <a:solidFill>
                <a:schemeClr val="bg2">
                  <a:lumMod val="50000"/>
                </a:schemeClr>
              </a:solidFill>
            </a:endParaRPr>
          </a:p>
          <a:p>
            <a:pPr>
              <a:lnSpc>
                <a:spcPct val="90000"/>
              </a:lnSpc>
            </a:pPr>
            <a:r>
              <a:rPr lang="en-US" sz="1100" b="1" dirty="0">
                <a:solidFill>
                  <a:schemeClr val="bg2">
                    <a:lumMod val="50000"/>
                  </a:schemeClr>
                </a:solidFill>
              </a:rPr>
              <a:t>Testing </a:t>
            </a:r>
            <a:r>
              <a:rPr lang="en-US" sz="1100" b="1" dirty="0" err="1">
                <a:solidFill>
                  <a:schemeClr val="bg2">
                    <a:lumMod val="50000"/>
                  </a:schemeClr>
                </a:solidFill>
              </a:rPr>
              <a:t>Tools:</a:t>
            </a:r>
            <a:r>
              <a:rPr lang="en-US" sz="1100" dirty="0" err="1">
                <a:solidFill>
                  <a:schemeClr val="bg2">
                    <a:lumMod val="50000"/>
                  </a:schemeClr>
                </a:solidFill>
              </a:rPr>
              <a:t>Selenium,Cypress,Soap</a:t>
            </a:r>
            <a:r>
              <a:rPr lang="en-US" sz="1100" dirty="0">
                <a:solidFill>
                  <a:schemeClr val="bg2">
                    <a:lumMod val="50000"/>
                  </a:schemeClr>
                </a:solidFill>
              </a:rPr>
              <a:t> UI, Api automation </a:t>
            </a:r>
          </a:p>
          <a:p>
            <a:pPr>
              <a:lnSpc>
                <a:spcPct val="90000"/>
              </a:lnSpc>
            </a:pPr>
            <a:r>
              <a:rPr lang="it-IT" sz="1100" b="1" dirty="0">
                <a:solidFill>
                  <a:schemeClr val="bg2">
                    <a:lumMod val="50000"/>
                  </a:schemeClr>
                </a:solidFill>
              </a:rPr>
              <a:t>Programming Languages</a:t>
            </a:r>
            <a:r>
              <a:rPr lang="it-IT" sz="1200" b="1" dirty="0">
                <a:solidFill>
                  <a:schemeClr val="bg2">
                    <a:lumMod val="50000"/>
                  </a:schemeClr>
                </a:solidFill>
              </a:rPr>
              <a:t>: </a:t>
            </a:r>
            <a:r>
              <a:rPr lang="it-IT" sz="1200" dirty="0">
                <a:solidFill>
                  <a:schemeClr val="bg2">
                    <a:lumMod val="50000"/>
                  </a:schemeClr>
                </a:solidFill>
              </a:rPr>
              <a:t>C</a:t>
            </a:r>
            <a:r>
              <a:rPr lang="it-IT" sz="1200" b="1" dirty="0">
                <a:solidFill>
                  <a:schemeClr val="bg2">
                    <a:lumMod val="50000"/>
                  </a:schemeClr>
                </a:solidFill>
              </a:rPr>
              <a:t>,</a:t>
            </a:r>
            <a:r>
              <a:rPr lang="en-US" sz="1050" dirty="0" err="1">
                <a:solidFill>
                  <a:srgbClr val="666666"/>
                </a:solidFill>
                <a:cs typeface="Arial" panose="020B0604020202020204" pitchFamily="34" charset="0"/>
              </a:rPr>
              <a:t>Java,Python</a:t>
            </a:r>
            <a:r>
              <a:rPr lang="en-US" sz="1050" dirty="0">
                <a:solidFill>
                  <a:srgbClr val="666666"/>
                </a:solidFill>
                <a:cs typeface="Arial" panose="020B0604020202020204" pitchFamily="34" charset="0"/>
              </a:rPr>
              <a:t> Basics,</a:t>
            </a:r>
          </a:p>
          <a:p>
            <a:pPr>
              <a:lnSpc>
                <a:spcPct val="90000"/>
              </a:lnSpc>
            </a:pPr>
            <a:r>
              <a:rPr lang="en-US" sz="1050" dirty="0" err="1">
                <a:solidFill>
                  <a:srgbClr val="666666"/>
                </a:solidFill>
                <a:cs typeface="Arial" panose="020B0604020202020204" pitchFamily="34" charset="0"/>
              </a:rPr>
              <a:t>JavaScript,Html</a:t>
            </a:r>
            <a:r>
              <a:rPr lang="en-US" sz="1050" dirty="0">
                <a:solidFill>
                  <a:srgbClr val="666666"/>
                </a:solidFill>
                <a:cs typeface="Arial" panose="020B0604020202020204" pitchFamily="34" charset="0"/>
              </a:rPr>
              <a:t>,</a:t>
            </a:r>
          </a:p>
          <a:p>
            <a:pPr>
              <a:lnSpc>
                <a:spcPct val="90000"/>
              </a:lnSpc>
            </a:pPr>
            <a:endParaRPr lang="en-US" sz="1100" dirty="0">
              <a:solidFill>
                <a:schemeClr val="bg2">
                  <a:lumMod val="50000"/>
                </a:schemeClr>
              </a:solidFill>
            </a:endParaRPr>
          </a:p>
          <a:p>
            <a:pPr>
              <a:lnSpc>
                <a:spcPct val="90000"/>
              </a:lnSpc>
            </a:pPr>
            <a:endParaRPr lang="en-US" sz="1000" dirty="0">
              <a:solidFill>
                <a:srgbClr val="666666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309061" y="837557"/>
            <a:ext cx="1675459" cy="3000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rgbClr val="009BD2"/>
                </a:solidFill>
              </a:rPr>
              <a:t>Associate Engineer</a:t>
            </a:r>
          </a:p>
        </p:txBody>
      </p:sp>
    </p:spTree>
    <p:extLst>
      <p:ext uri="{BB962C8B-B14F-4D97-AF65-F5344CB8AC3E}">
        <p14:creationId xmlns:p14="http://schemas.microsoft.com/office/powerpoint/2010/main" val="177047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TEKsystems">
      <a:dk1>
        <a:srgbClr val="000000"/>
      </a:dk1>
      <a:lt1>
        <a:srgbClr val="FFFFFF"/>
      </a:lt1>
      <a:dk2>
        <a:srgbClr val="CFD4D7"/>
      </a:dk2>
      <a:lt2>
        <a:srgbClr val="717073"/>
      </a:lt2>
      <a:accent1>
        <a:srgbClr val="021A32"/>
      </a:accent1>
      <a:accent2>
        <a:srgbClr val="F8971D"/>
      </a:accent2>
      <a:accent3>
        <a:srgbClr val="0194D3"/>
      </a:accent3>
      <a:accent4>
        <a:srgbClr val="8DC63F"/>
      </a:accent4>
      <a:accent5>
        <a:srgbClr val="A4D7F4"/>
      </a:accent5>
      <a:accent6>
        <a:srgbClr val="DF7D1C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47943781804EF42AF45BAD6DF2A07B0" ma:contentTypeVersion="2" ma:contentTypeDescription="Create a new document." ma:contentTypeScope="" ma:versionID="202a266985141496ede6afe299203ef9">
  <xsd:schema xmlns:xsd="http://www.w3.org/2001/XMLSchema" xmlns:xs="http://www.w3.org/2001/XMLSchema" xmlns:p="http://schemas.microsoft.com/office/2006/metadata/properties" xmlns:ns2="55bcc682-0a54-4979-aa77-28cb97fae9dd" targetNamespace="http://schemas.microsoft.com/office/2006/metadata/properties" ma:root="true" ma:fieldsID="b32309865e349d4b5678f2759c9015d9" ns2:_="">
    <xsd:import namespace="55bcc682-0a54-4979-aa77-28cb97fae9d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5bcc682-0a54-4979-aa77-28cb97fae9d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8A578E37-0A9A-433E-877E-9230549DBE3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5bcc682-0a54-4979-aa77-28cb97fae9d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C53FDB7E-DA49-4071-A284-F0916CE4387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8550556-E34F-4AF6-88F8-11493F8E1A83}">
  <ds:schemaRefs>
    <ds:schemaRef ds:uri="http://purl.org/dc/dcmitype/"/>
    <ds:schemaRef ds:uri="http://schemas.microsoft.com/office/2006/documentManagement/types"/>
    <ds:schemaRef ds:uri="http://www.w3.org/XML/1998/namespace"/>
    <ds:schemaRef ds:uri="http://schemas.openxmlformats.org/package/2006/metadata/core-properties"/>
    <ds:schemaRef ds:uri="http://schemas.microsoft.com/office/infopath/2007/PartnerControls"/>
    <ds:schemaRef ds:uri="http://purl.org/dc/terms/"/>
    <ds:schemaRef ds:uri="55bcc682-0a54-4979-aa77-28cb97fae9dd"/>
    <ds:schemaRef ds:uri="http://schemas.microsoft.com/office/2006/metadata/properties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392</TotalTime>
  <Words>210</Words>
  <Application>Microsoft Office PowerPoint</Application>
  <PresentationFormat>On-screen Show (16:9)</PresentationFormat>
  <Paragraphs>22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.AppleSystemUIFont</vt:lpstr>
      <vt:lpstr>Arial</vt:lpstr>
      <vt:lpstr>Calibri</vt:lpstr>
      <vt:lpstr>Century Gothic</vt:lpstr>
      <vt:lpstr>Courier New</vt:lpstr>
      <vt:lpstr>Times New Roman</vt:lpstr>
      <vt:lpstr>Wingdings</vt:lpstr>
      <vt:lpstr>Office Theme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rosoft Office User</dc:creator>
  <cp:lastModifiedBy>Mahammad, Fardeen</cp:lastModifiedBy>
  <cp:revision>97</cp:revision>
  <cp:lastPrinted>2019-01-04T17:04:17Z</cp:lastPrinted>
  <dcterms:modified xsi:type="dcterms:W3CDTF">2024-05-20T16:45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47943781804EF42AF45BAD6DF2A07B0</vt:lpwstr>
  </property>
  <property fmtid="{D5CDD505-2E9C-101B-9397-08002B2CF9AE}" pid="3" name="PracticeEngagement">
    <vt:lpwstr>413;#Global Services (GS)|17914681-013b-40a5-8663-6c7410e12de5</vt:lpwstr>
  </property>
  <property fmtid="{D5CDD505-2E9C-101B-9397-08002B2CF9AE}" pid="4" name="_dlc_DocIdItemGuid">
    <vt:lpwstr>781721f8-ec3b-4474-9301-5c88db9076f5</vt:lpwstr>
  </property>
  <property fmtid="{D5CDD505-2E9C-101B-9397-08002B2CF9AE}" pid="5" name="CollateralType">
    <vt:lpwstr>436;#Branded Blank Templates|7ef56c4c-ec14-4649-bafa-6742e88fe05f</vt:lpwstr>
  </property>
  <property fmtid="{D5CDD505-2E9C-101B-9397-08002B2CF9AE}" pid="6" name="ServiceType">
    <vt:lpwstr>359;#GS- Global Services|898eb947-17ca-4007-8e95-e4b639593d48</vt:lpwstr>
  </property>
</Properties>
</file>